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1.xml" ContentType="application/vnd.openxmlformats-officedocument.presentationml.tags+xml"/>
  <Override PartName="/ppt/notesSlides/notesSlide7.xml" ContentType="application/vnd.openxmlformats-officedocument.presentationml.notesSlide+xml"/>
  <Override PartName="/ppt/tags/tag12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3.xml" ContentType="application/vnd.openxmlformats-officedocument.presentationml.tags+xml"/>
  <Override PartName="/ppt/notesSlides/notesSlide12.xml" ContentType="application/vnd.openxmlformats-officedocument.presentationml.notesSlide+xml"/>
  <Override PartName="/ppt/tags/tag14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4" r:id="rId4"/>
  </p:sldMasterIdLst>
  <p:notesMasterIdLst>
    <p:notesMasterId r:id="rId51"/>
  </p:notesMasterIdLst>
  <p:sldIdLst>
    <p:sldId id="291" r:id="rId5"/>
    <p:sldId id="260" r:id="rId6"/>
    <p:sldId id="256" r:id="rId7"/>
    <p:sldId id="257" r:id="rId8"/>
    <p:sldId id="258" r:id="rId9"/>
    <p:sldId id="259" r:id="rId10"/>
    <p:sldId id="261" r:id="rId11"/>
    <p:sldId id="263" r:id="rId12"/>
    <p:sldId id="264" r:id="rId13"/>
    <p:sldId id="265" r:id="rId14"/>
    <p:sldId id="266" r:id="rId15"/>
    <p:sldId id="267" r:id="rId16"/>
    <p:sldId id="304" r:id="rId17"/>
    <p:sldId id="268" r:id="rId18"/>
    <p:sldId id="269" r:id="rId19"/>
    <p:sldId id="270" r:id="rId20"/>
    <p:sldId id="271" r:id="rId21"/>
    <p:sldId id="300" r:id="rId22"/>
    <p:sldId id="299" r:id="rId23"/>
    <p:sldId id="272" r:id="rId24"/>
    <p:sldId id="290" r:id="rId25"/>
    <p:sldId id="273" r:id="rId26"/>
    <p:sldId id="274" r:id="rId27"/>
    <p:sldId id="275" r:id="rId28"/>
    <p:sldId id="276" r:id="rId29"/>
    <p:sldId id="277" r:id="rId30"/>
    <p:sldId id="278" r:id="rId31"/>
    <p:sldId id="279" r:id="rId32"/>
    <p:sldId id="280" r:id="rId33"/>
    <p:sldId id="281" r:id="rId34"/>
    <p:sldId id="282" r:id="rId35"/>
    <p:sldId id="283" r:id="rId36"/>
    <p:sldId id="284" r:id="rId37"/>
    <p:sldId id="285" r:id="rId38"/>
    <p:sldId id="286" r:id="rId39"/>
    <p:sldId id="287" r:id="rId40"/>
    <p:sldId id="292" r:id="rId41"/>
    <p:sldId id="293" r:id="rId42"/>
    <p:sldId id="294" r:id="rId43"/>
    <p:sldId id="301" r:id="rId44"/>
    <p:sldId id="302" r:id="rId45"/>
    <p:sldId id="295" r:id="rId46"/>
    <p:sldId id="296" r:id="rId47"/>
    <p:sldId id="297" r:id="rId48"/>
    <p:sldId id="298" r:id="rId49"/>
    <p:sldId id="553" r:id="rId50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85C836A-F2B5-4589-A25B-5F2C18B5FEE6}" v="29" dt="2019-05-29T06:47:29.91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60" d="100"/>
          <a:sy n="60" d="100"/>
        </p:scale>
        <p:origin x="1005" y="45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54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microsoft.com/office/2015/10/relationships/revisionInfo" Target="revisionInfo.xml"/><Relationship Id="rId8" Type="http://schemas.openxmlformats.org/officeDocument/2006/relationships/slide" Target="slides/slide4.xml"/><Relationship Id="rId51" Type="http://schemas.openxmlformats.org/officeDocument/2006/relationships/notesMaster" Target="notesMasters/notesMaster1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embhare, Anjulata" userId="5d3e18b3-a710-4cca-99e7-6940fdcaf89f" providerId="ADAL" clId="{885C836A-F2B5-4589-A25B-5F2C18B5FEE6}"/>
    <pc:docChg chg="undo custSel addSld delSld modSld modMainMaster">
      <pc:chgData name="Tembhare, Anjulata" userId="5d3e18b3-a710-4cca-99e7-6940fdcaf89f" providerId="ADAL" clId="{885C836A-F2B5-4589-A25B-5F2C18B5FEE6}" dt="2019-05-29T06:46:54.891" v="226" actId="403"/>
      <pc:docMkLst>
        <pc:docMk/>
      </pc:docMkLst>
      <pc:sldChg chg="addSp delSp modSp">
        <pc:chgData name="Tembhare, Anjulata" userId="5d3e18b3-a710-4cca-99e7-6940fdcaf89f" providerId="ADAL" clId="{885C836A-F2B5-4589-A25B-5F2C18B5FEE6}" dt="2019-05-29T06:46:29.138" v="221" actId="207"/>
        <pc:sldMkLst>
          <pc:docMk/>
          <pc:sldMk cId="1783498961" sldId="256"/>
        </pc:sldMkLst>
        <pc:spChg chg="mod">
          <ac:chgData name="Tembhare, Anjulata" userId="5d3e18b3-a710-4cca-99e7-6940fdcaf89f" providerId="ADAL" clId="{885C836A-F2B5-4589-A25B-5F2C18B5FEE6}" dt="2019-05-29T06:46:29.138" v="221" actId="207"/>
          <ac:spMkLst>
            <pc:docMk/>
            <pc:sldMk cId="1783498961" sldId="256"/>
            <ac:spMk id="2" creationId="{00000000-0000-0000-0000-000000000000}"/>
          </ac:spMkLst>
        </pc:spChg>
        <pc:grpChg chg="add del">
          <ac:chgData name="Tembhare, Anjulata" userId="5d3e18b3-a710-4cca-99e7-6940fdcaf89f" providerId="ADAL" clId="{885C836A-F2B5-4589-A25B-5F2C18B5FEE6}" dt="2019-05-29T06:19:44.178" v="21" actId="478"/>
          <ac:grpSpMkLst>
            <pc:docMk/>
            <pc:sldMk cId="1783498961" sldId="256"/>
            <ac:grpSpMk id="3" creationId="{00000000-0000-0000-0000-000000000000}"/>
          </ac:grpSpMkLst>
        </pc:grpChg>
      </pc:sldChg>
      <pc:sldChg chg="delSp modSp">
        <pc:chgData name="Tembhare, Anjulata" userId="5d3e18b3-a710-4cca-99e7-6940fdcaf89f" providerId="ADAL" clId="{885C836A-F2B5-4589-A25B-5F2C18B5FEE6}" dt="2019-05-29T06:27:00.459" v="28" actId="1076"/>
        <pc:sldMkLst>
          <pc:docMk/>
          <pc:sldMk cId="3580884536" sldId="257"/>
        </pc:sldMkLst>
        <pc:spChg chg="del mod">
          <ac:chgData name="Tembhare, Anjulata" userId="5d3e18b3-a710-4cca-99e7-6940fdcaf89f" providerId="ADAL" clId="{885C836A-F2B5-4589-A25B-5F2C18B5FEE6}" dt="2019-05-29T06:26:49.158" v="27"/>
          <ac:spMkLst>
            <pc:docMk/>
            <pc:sldMk cId="3580884536" sldId="257"/>
            <ac:spMk id="5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27:00.459" v="28" actId="1076"/>
          <ac:spMkLst>
            <pc:docMk/>
            <pc:sldMk cId="3580884536" sldId="257"/>
            <ac:spMk id="9" creationId="{00000000-0000-0000-0000-000000000000}"/>
          </ac:spMkLst>
        </pc:spChg>
      </pc:sldChg>
      <pc:sldChg chg="modSp">
        <pc:chgData name="Tembhare, Anjulata" userId="5d3e18b3-a710-4cca-99e7-6940fdcaf89f" providerId="ADAL" clId="{885C836A-F2B5-4589-A25B-5F2C18B5FEE6}" dt="2019-05-29T06:46:21.418" v="220" actId="403"/>
        <pc:sldMkLst>
          <pc:docMk/>
          <pc:sldMk cId="0" sldId="258"/>
        </pc:sldMkLst>
        <pc:spChg chg="mod">
          <ac:chgData name="Tembhare, Anjulata" userId="5d3e18b3-a710-4cca-99e7-6940fdcaf89f" providerId="ADAL" clId="{885C836A-F2B5-4589-A25B-5F2C18B5FEE6}" dt="2019-05-29T06:46:21.418" v="220" actId="403"/>
          <ac:spMkLst>
            <pc:docMk/>
            <pc:sldMk cId="0" sldId="258"/>
            <ac:spMk id="10242" creationId="{00000000-0000-0000-0000-000000000000}"/>
          </ac:spMkLst>
        </pc:spChg>
      </pc:sldChg>
      <pc:sldChg chg="modSp">
        <pc:chgData name="Tembhare, Anjulata" userId="5d3e18b3-a710-4cca-99e7-6940fdcaf89f" providerId="ADAL" clId="{885C836A-F2B5-4589-A25B-5F2C18B5FEE6}" dt="2019-05-29T06:46:15.283" v="219" actId="403"/>
        <pc:sldMkLst>
          <pc:docMk/>
          <pc:sldMk cId="0" sldId="259"/>
        </pc:sldMkLst>
        <pc:spChg chg="mod">
          <ac:chgData name="Tembhare, Anjulata" userId="5d3e18b3-a710-4cca-99e7-6940fdcaf89f" providerId="ADAL" clId="{885C836A-F2B5-4589-A25B-5F2C18B5FEE6}" dt="2019-05-29T06:46:15.283" v="219" actId="403"/>
          <ac:spMkLst>
            <pc:docMk/>
            <pc:sldMk cId="0" sldId="259"/>
            <ac:spMk id="12290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5:45:48.971" v="0" actId="27636"/>
          <ac:spMkLst>
            <pc:docMk/>
            <pc:sldMk cId="0" sldId="259"/>
            <ac:spMk id="12291" creationId="{00000000-0000-0000-0000-000000000000}"/>
          </ac:spMkLst>
        </pc:spChg>
      </pc:sldChg>
      <pc:sldChg chg="addSp delSp modSp">
        <pc:chgData name="Tembhare, Anjulata" userId="5d3e18b3-a710-4cca-99e7-6940fdcaf89f" providerId="ADAL" clId="{885C836A-F2B5-4589-A25B-5F2C18B5FEE6}" dt="2019-05-29T06:46:40.480" v="223" actId="403"/>
        <pc:sldMkLst>
          <pc:docMk/>
          <pc:sldMk cId="1783498961" sldId="260"/>
        </pc:sldMkLst>
        <pc:spChg chg="mod">
          <ac:chgData name="Tembhare, Anjulata" userId="5d3e18b3-a710-4cca-99e7-6940fdcaf89f" providerId="ADAL" clId="{885C836A-F2B5-4589-A25B-5F2C18B5FEE6}" dt="2019-05-29T06:46:40.480" v="223" actId="403"/>
          <ac:spMkLst>
            <pc:docMk/>
            <pc:sldMk cId="1783498961" sldId="260"/>
            <ac:spMk id="2" creationId="{00000000-0000-0000-0000-000000000000}"/>
          </ac:spMkLst>
        </pc:spChg>
        <pc:spChg chg="add del mod">
          <ac:chgData name="Tembhare, Anjulata" userId="5d3e18b3-a710-4cca-99e7-6940fdcaf89f" providerId="ADAL" clId="{885C836A-F2B5-4589-A25B-5F2C18B5FEE6}" dt="2019-05-29T06:19:31.064" v="18"/>
          <ac:spMkLst>
            <pc:docMk/>
            <pc:sldMk cId="1783498961" sldId="260"/>
            <ac:spMk id="8" creationId="{9A084CD0-BF9D-48C0-9A7F-0D522519988E}"/>
          </ac:spMkLst>
        </pc:spChg>
        <pc:spChg chg="mod">
          <ac:chgData name="Tembhare, Anjulata" userId="5d3e18b3-a710-4cca-99e7-6940fdcaf89f" providerId="ADAL" clId="{885C836A-F2B5-4589-A25B-5F2C18B5FEE6}" dt="2019-05-29T06:19:05.037" v="16" actId="207"/>
          <ac:spMkLst>
            <pc:docMk/>
            <pc:sldMk cId="1783498961" sldId="260"/>
            <ac:spMk id="23" creationId="{00000000-0000-0000-0000-000000000000}"/>
          </ac:spMkLst>
        </pc:spChg>
        <pc:grpChg chg="del">
          <ac:chgData name="Tembhare, Anjulata" userId="5d3e18b3-a710-4cca-99e7-6940fdcaf89f" providerId="ADAL" clId="{885C836A-F2B5-4589-A25B-5F2C18B5FEE6}" dt="2019-05-29T06:19:35.894" v="19" actId="478"/>
          <ac:grpSpMkLst>
            <pc:docMk/>
            <pc:sldMk cId="1783498961" sldId="260"/>
            <ac:grpSpMk id="3" creationId="{00000000-0000-0000-0000-000000000000}"/>
          </ac:grpSpMkLst>
        </pc:grpChg>
      </pc:sldChg>
      <pc:sldChg chg="delSp modSp">
        <pc:chgData name="Tembhare, Anjulata" userId="5d3e18b3-a710-4cca-99e7-6940fdcaf89f" providerId="ADAL" clId="{885C836A-F2B5-4589-A25B-5F2C18B5FEE6}" dt="2019-05-29T06:27:23.401" v="30" actId="1076"/>
        <pc:sldMkLst>
          <pc:docMk/>
          <pc:sldMk cId="217028178" sldId="261"/>
        </pc:sldMkLst>
        <pc:spChg chg="mod">
          <ac:chgData name="Tembhare, Anjulata" userId="5d3e18b3-a710-4cca-99e7-6940fdcaf89f" providerId="ADAL" clId="{885C836A-F2B5-4589-A25B-5F2C18B5FEE6}" dt="2019-05-29T06:27:23.401" v="30" actId="1076"/>
          <ac:spMkLst>
            <pc:docMk/>
            <pc:sldMk cId="217028178" sldId="261"/>
            <ac:spMk id="3" creationId="{00000000-0000-0000-0000-000000000000}"/>
          </ac:spMkLst>
        </pc:spChg>
        <pc:grpChg chg="del">
          <ac:chgData name="Tembhare, Anjulata" userId="5d3e18b3-a710-4cca-99e7-6940fdcaf89f" providerId="ADAL" clId="{885C836A-F2B5-4589-A25B-5F2C18B5FEE6}" dt="2019-05-29T06:27:20.016" v="29" actId="478"/>
          <ac:grpSpMkLst>
            <pc:docMk/>
            <pc:sldMk cId="217028178" sldId="261"/>
            <ac:grpSpMk id="2" creationId="{00000000-0000-0000-0000-000000000000}"/>
          </ac:grpSpMkLst>
        </pc:grpChg>
      </pc:sldChg>
      <pc:sldChg chg="modSp">
        <pc:chgData name="Tembhare, Anjulata" userId="5d3e18b3-a710-4cca-99e7-6940fdcaf89f" providerId="ADAL" clId="{885C836A-F2B5-4589-A25B-5F2C18B5FEE6}" dt="2019-05-29T06:27:37.926" v="32" actId="27636"/>
        <pc:sldMkLst>
          <pc:docMk/>
          <pc:sldMk cId="3580884536" sldId="263"/>
        </pc:sldMkLst>
        <pc:spChg chg="mod">
          <ac:chgData name="Tembhare, Anjulata" userId="5d3e18b3-a710-4cca-99e7-6940fdcaf89f" providerId="ADAL" clId="{885C836A-F2B5-4589-A25B-5F2C18B5FEE6}" dt="2019-05-29T06:27:37.926" v="32" actId="27636"/>
          <ac:spMkLst>
            <pc:docMk/>
            <pc:sldMk cId="3580884536" sldId="263"/>
            <ac:spMk id="3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5:49:27.965" v="8" actId="20577"/>
          <ac:spMkLst>
            <pc:docMk/>
            <pc:sldMk cId="3580884536" sldId="263"/>
            <ac:spMk id="5" creationId="{00000000-0000-0000-0000-000000000000}"/>
          </ac:spMkLst>
        </pc:spChg>
      </pc:sldChg>
      <pc:sldChg chg="modSp">
        <pc:chgData name="Tembhare, Anjulata" userId="5d3e18b3-a710-4cca-99e7-6940fdcaf89f" providerId="ADAL" clId="{885C836A-F2B5-4589-A25B-5F2C18B5FEE6}" dt="2019-05-29T05:49:37.040" v="9" actId="6549"/>
        <pc:sldMkLst>
          <pc:docMk/>
          <pc:sldMk cId="3580884536" sldId="264"/>
        </pc:sldMkLst>
        <pc:spChg chg="mod">
          <ac:chgData name="Tembhare, Anjulata" userId="5d3e18b3-a710-4cca-99e7-6940fdcaf89f" providerId="ADAL" clId="{885C836A-F2B5-4589-A25B-5F2C18B5FEE6}" dt="2019-05-29T05:49:37.040" v="9" actId="6549"/>
          <ac:spMkLst>
            <pc:docMk/>
            <pc:sldMk cId="3580884536" sldId="264"/>
            <ac:spMk id="5" creationId="{00000000-0000-0000-0000-000000000000}"/>
          </ac:spMkLst>
        </pc:spChg>
      </pc:sldChg>
      <pc:sldChg chg="modSp">
        <pc:chgData name="Tembhare, Anjulata" userId="5d3e18b3-a710-4cca-99e7-6940fdcaf89f" providerId="ADAL" clId="{885C836A-F2B5-4589-A25B-5F2C18B5FEE6}" dt="2019-05-29T06:28:37.319" v="43" actId="404"/>
        <pc:sldMkLst>
          <pc:docMk/>
          <pc:sldMk cId="0" sldId="265"/>
        </pc:sldMkLst>
        <pc:spChg chg="mod">
          <ac:chgData name="Tembhare, Anjulata" userId="5d3e18b3-a710-4cca-99e7-6940fdcaf89f" providerId="ADAL" clId="{885C836A-F2B5-4589-A25B-5F2C18B5FEE6}" dt="2019-05-29T06:28:37.319" v="43" actId="404"/>
          <ac:spMkLst>
            <pc:docMk/>
            <pc:sldMk cId="0" sldId="265"/>
            <ac:spMk id="18434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28:09.784" v="38" actId="14100"/>
          <ac:spMkLst>
            <pc:docMk/>
            <pc:sldMk cId="0" sldId="265"/>
            <ac:spMk id="19462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28:19.086" v="39" actId="14100"/>
          <ac:spMkLst>
            <pc:docMk/>
            <pc:sldMk cId="0" sldId="265"/>
            <ac:spMk id="19463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27:58.051" v="36" actId="1038"/>
          <ac:spMkLst>
            <pc:docMk/>
            <pc:sldMk cId="0" sldId="265"/>
            <ac:spMk id="32778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27:58.051" v="36" actId="1038"/>
          <ac:spMkLst>
            <pc:docMk/>
            <pc:sldMk cId="0" sldId="265"/>
            <ac:spMk id="32779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27:58.051" v="36" actId="1038"/>
          <ac:spMkLst>
            <pc:docMk/>
            <pc:sldMk cId="0" sldId="265"/>
            <ac:spMk id="32780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27:58.051" v="36" actId="1038"/>
          <ac:spMkLst>
            <pc:docMk/>
            <pc:sldMk cId="0" sldId="265"/>
            <ac:spMk id="32781" creationId="{00000000-0000-0000-0000-000000000000}"/>
          </ac:spMkLst>
        </pc:spChg>
      </pc:sldChg>
      <pc:sldChg chg="modSp">
        <pc:chgData name="Tembhare, Anjulata" userId="5d3e18b3-a710-4cca-99e7-6940fdcaf89f" providerId="ADAL" clId="{885C836A-F2B5-4589-A25B-5F2C18B5FEE6}" dt="2019-05-29T06:29:47.414" v="58" actId="14100"/>
        <pc:sldMkLst>
          <pc:docMk/>
          <pc:sldMk cId="0" sldId="266"/>
        </pc:sldMkLst>
        <pc:spChg chg="mod">
          <ac:chgData name="Tembhare, Anjulata" userId="5d3e18b3-a710-4cca-99e7-6940fdcaf89f" providerId="ADAL" clId="{885C836A-F2B5-4589-A25B-5F2C18B5FEE6}" dt="2019-05-29T06:29:29.677" v="55" actId="1076"/>
          <ac:spMkLst>
            <pc:docMk/>
            <pc:sldMk cId="0" sldId="266"/>
            <ac:spMk id="20482" creationId="{00000000-0000-0000-0000-000000000000}"/>
          </ac:spMkLst>
        </pc:spChg>
        <pc:grpChg chg="mod">
          <ac:chgData name="Tembhare, Anjulata" userId="5d3e18b3-a710-4cca-99e7-6940fdcaf89f" providerId="ADAL" clId="{885C836A-F2B5-4589-A25B-5F2C18B5FEE6}" dt="2019-05-29T06:29:47.414" v="58" actId="14100"/>
          <ac:grpSpMkLst>
            <pc:docMk/>
            <pc:sldMk cId="0" sldId="266"/>
            <ac:grpSpMk id="2" creationId="{00000000-0000-0000-0000-000000000000}"/>
          </ac:grpSpMkLst>
        </pc:grpChg>
        <pc:grpChg chg="mod">
          <ac:chgData name="Tembhare, Anjulata" userId="5d3e18b3-a710-4cca-99e7-6940fdcaf89f" providerId="ADAL" clId="{885C836A-F2B5-4589-A25B-5F2C18B5FEE6}" dt="2019-05-29T06:29:15.183" v="50" actId="14100"/>
          <ac:grpSpMkLst>
            <pc:docMk/>
            <pc:sldMk cId="0" sldId="266"/>
            <ac:grpSpMk id="3" creationId="{00000000-0000-0000-0000-000000000000}"/>
          </ac:grpSpMkLst>
        </pc:grpChg>
        <pc:grpChg chg="mod">
          <ac:chgData name="Tembhare, Anjulata" userId="5d3e18b3-a710-4cca-99e7-6940fdcaf89f" providerId="ADAL" clId="{885C836A-F2B5-4589-A25B-5F2C18B5FEE6}" dt="2019-05-29T06:29:19.915" v="51" actId="1076"/>
          <ac:grpSpMkLst>
            <pc:docMk/>
            <pc:sldMk cId="0" sldId="266"/>
            <ac:grpSpMk id="4" creationId="{00000000-0000-0000-0000-000000000000}"/>
          </ac:grpSpMkLst>
        </pc:grpChg>
      </pc:sldChg>
      <pc:sldChg chg="modSp">
        <pc:chgData name="Tembhare, Anjulata" userId="5d3e18b3-a710-4cca-99e7-6940fdcaf89f" providerId="ADAL" clId="{885C836A-F2B5-4589-A25B-5F2C18B5FEE6}" dt="2019-05-29T06:30:01.440" v="59" actId="14100"/>
        <pc:sldMkLst>
          <pc:docMk/>
          <pc:sldMk cId="0" sldId="267"/>
        </pc:sldMkLst>
        <pc:spChg chg="mod">
          <ac:chgData name="Tembhare, Anjulata" userId="5d3e18b3-a710-4cca-99e7-6940fdcaf89f" providerId="ADAL" clId="{885C836A-F2B5-4589-A25B-5F2C18B5FEE6}" dt="2019-05-29T06:29:38.961" v="57" actId="403"/>
          <ac:spMkLst>
            <pc:docMk/>
            <pc:sldMk cId="0" sldId="267"/>
            <ac:spMk id="21506" creationId="{00000000-0000-0000-0000-000000000000}"/>
          </ac:spMkLst>
        </pc:spChg>
        <pc:grpChg chg="mod">
          <ac:chgData name="Tembhare, Anjulata" userId="5d3e18b3-a710-4cca-99e7-6940fdcaf89f" providerId="ADAL" clId="{885C836A-F2B5-4589-A25B-5F2C18B5FEE6}" dt="2019-05-29T06:30:01.440" v="59" actId="14100"/>
          <ac:grpSpMkLst>
            <pc:docMk/>
            <pc:sldMk cId="0" sldId="267"/>
            <ac:grpSpMk id="3" creationId="{00000000-0000-0000-0000-000000000000}"/>
          </ac:grpSpMkLst>
        </pc:grpChg>
      </pc:sldChg>
      <pc:sldChg chg="modSp">
        <pc:chgData name="Tembhare, Anjulata" userId="5d3e18b3-a710-4cca-99e7-6940fdcaf89f" providerId="ADAL" clId="{885C836A-F2B5-4589-A25B-5F2C18B5FEE6}" dt="2019-05-29T06:46:03.900" v="217" actId="207"/>
        <pc:sldMkLst>
          <pc:docMk/>
          <pc:sldMk cId="4211422129" sldId="268"/>
        </pc:sldMkLst>
        <pc:spChg chg="mod">
          <ac:chgData name="Tembhare, Anjulata" userId="5d3e18b3-a710-4cca-99e7-6940fdcaf89f" providerId="ADAL" clId="{885C836A-F2B5-4589-A25B-5F2C18B5FEE6}" dt="2019-05-29T06:46:03.900" v="217" actId="207"/>
          <ac:spMkLst>
            <pc:docMk/>
            <pc:sldMk cId="4211422129" sldId="268"/>
            <ac:spMk id="10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0:52.256" v="65" actId="1076"/>
          <ac:spMkLst>
            <pc:docMk/>
            <pc:sldMk cId="4211422129" sldId="268"/>
            <ac:spMk id="11" creationId="{00000000-0000-0000-0000-000000000000}"/>
          </ac:spMkLst>
        </pc:spChg>
        <pc:grpChg chg="mod">
          <ac:chgData name="Tembhare, Anjulata" userId="5d3e18b3-a710-4cca-99e7-6940fdcaf89f" providerId="ADAL" clId="{885C836A-F2B5-4589-A25B-5F2C18B5FEE6}" dt="2019-05-29T06:31:02.040" v="68" actId="1076"/>
          <ac:grpSpMkLst>
            <pc:docMk/>
            <pc:sldMk cId="4211422129" sldId="268"/>
            <ac:grpSpMk id="2" creationId="{00000000-0000-0000-0000-000000000000}"/>
          </ac:grpSpMkLst>
        </pc:grpChg>
        <pc:picChg chg="mod">
          <ac:chgData name="Tembhare, Anjulata" userId="5d3e18b3-a710-4cca-99e7-6940fdcaf89f" providerId="ADAL" clId="{885C836A-F2B5-4589-A25B-5F2C18B5FEE6}" dt="2019-05-29T06:31:02.040" v="68" actId="1076"/>
          <ac:picMkLst>
            <pc:docMk/>
            <pc:sldMk cId="4211422129" sldId="268"/>
            <ac:picMk id="12" creationId="{00000000-0000-0000-0000-000000000000}"/>
          </ac:picMkLst>
        </pc:picChg>
      </pc:sldChg>
      <pc:sldChg chg="modSp">
        <pc:chgData name="Tembhare, Anjulata" userId="5d3e18b3-a710-4cca-99e7-6940fdcaf89f" providerId="ADAL" clId="{885C836A-F2B5-4589-A25B-5F2C18B5FEE6}" dt="2019-05-29T06:31:55.349" v="79" actId="1076"/>
        <pc:sldMkLst>
          <pc:docMk/>
          <pc:sldMk cId="0" sldId="269"/>
        </pc:sldMkLst>
        <pc:spChg chg="mod">
          <ac:chgData name="Tembhare, Anjulata" userId="5d3e18b3-a710-4cca-99e7-6940fdcaf89f" providerId="ADAL" clId="{885C836A-F2B5-4589-A25B-5F2C18B5FEE6}" dt="2019-05-29T06:31:39.729" v="75" actId="403"/>
          <ac:spMkLst>
            <pc:docMk/>
            <pc:sldMk cId="0" sldId="269"/>
            <ac:spMk id="23554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1:55.349" v="79" actId="1076"/>
          <ac:spMkLst>
            <pc:docMk/>
            <pc:sldMk cId="0" sldId="269"/>
            <ac:spMk id="23555" creationId="{00000000-0000-0000-0000-000000000000}"/>
          </ac:spMkLst>
        </pc:spChg>
        <pc:picChg chg="mod">
          <ac:chgData name="Tembhare, Anjulata" userId="5d3e18b3-a710-4cca-99e7-6940fdcaf89f" providerId="ADAL" clId="{885C836A-F2B5-4589-A25B-5F2C18B5FEE6}" dt="2019-05-29T06:31:33.021" v="72" actId="14100"/>
          <ac:picMkLst>
            <pc:docMk/>
            <pc:sldMk cId="0" sldId="269"/>
            <ac:picMk id="43011" creationId="{00000000-0000-0000-0000-000000000000}"/>
          </ac:picMkLst>
        </pc:picChg>
      </pc:sldChg>
      <pc:sldChg chg="modSp">
        <pc:chgData name="Tembhare, Anjulata" userId="5d3e18b3-a710-4cca-99e7-6940fdcaf89f" providerId="ADAL" clId="{885C836A-F2B5-4589-A25B-5F2C18B5FEE6}" dt="2019-05-29T06:32:13.248" v="83" actId="1076"/>
        <pc:sldMkLst>
          <pc:docMk/>
          <pc:sldMk cId="0" sldId="270"/>
        </pc:sldMkLst>
        <pc:spChg chg="mod">
          <ac:chgData name="Tembhare, Anjulata" userId="5d3e18b3-a710-4cca-99e7-6940fdcaf89f" providerId="ADAL" clId="{885C836A-F2B5-4589-A25B-5F2C18B5FEE6}" dt="2019-05-29T06:32:05.785" v="82" actId="403"/>
          <ac:spMkLst>
            <pc:docMk/>
            <pc:sldMk cId="0" sldId="270"/>
            <ac:spMk id="24578" creationId="{00000000-0000-0000-0000-000000000000}"/>
          </ac:spMkLst>
        </pc:spChg>
        <pc:grpChg chg="mod">
          <ac:chgData name="Tembhare, Anjulata" userId="5d3e18b3-a710-4cca-99e7-6940fdcaf89f" providerId="ADAL" clId="{885C836A-F2B5-4589-A25B-5F2C18B5FEE6}" dt="2019-05-29T06:32:13.248" v="83" actId="1076"/>
          <ac:grpSpMkLst>
            <pc:docMk/>
            <pc:sldMk cId="0" sldId="270"/>
            <ac:grpSpMk id="2" creationId="{00000000-0000-0000-0000-000000000000}"/>
          </ac:grpSpMkLst>
        </pc:grpChg>
      </pc:sldChg>
      <pc:sldChg chg="modSp">
        <pc:chgData name="Tembhare, Anjulata" userId="5d3e18b3-a710-4cca-99e7-6940fdcaf89f" providerId="ADAL" clId="{885C836A-F2B5-4589-A25B-5F2C18B5FEE6}" dt="2019-05-29T06:32:29.345" v="86" actId="403"/>
        <pc:sldMkLst>
          <pc:docMk/>
          <pc:sldMk cId="0" sldId="271"/>
        </pc:sldMkLst>
        <pc:spChg chg="mod">
          <ac:chgData name="Tembhare, Anjulata" userId="5d3e18b3-a710-4cca-99e7-6940fdcaf89f" providerId="ADAL" clId="{885C836A-F2B5-4589-A25B-5F2C18B5FEE6}" dt="2019-05-29T06:32:29.345" v="86" actId="403"/>
          <ac:spMkLst>
            <pc:docMk/>
            <pc:sldMk cId="0" sldId="271"/>
            <ac:spMk id="25602" creationId="{00000000-0000-0000-0000-000000000000}"/>
          </ac:spMkLst>
        </pc:spChg>
      </pc:sldChg>
      <pc:sldChg chg="modSp">
        <pc:chgData name="Tembhare, Anjulata" userId="5d3e18b3-a710-4cca-99e7-6940fdcaf89f" providerId="ADAL" clId="{885C836A-F2B5-4589-A25B-5F2C18B5FEE6}" dt="2019-05-29T06:33:49.691" v="99" actId="403"/>
        <pc:sldMkLst>
          <pc:docMk/>
          <pc:sldMk cId="0" sldId="272"/>
        </pc:sldMkLst>
        <pc:spChg chg="mod">
          <ac:chgData name="Tembhare, Anjulata" userId="5d3e18b3-a710-4cca-99e7-6940fdcaf89f" providerId="ADAL" clId="{885C836A-F2B5-4589-A25B-5F2C18B5FEE6}" dt="2019-05-29T06:33:49.691" v="99" actId="403"/>
          <ac:spMkLst>
            <pc:docMk/>
            <pc:sldMk cId="0" sldId="272"/>
            <ac:spMk id="26627" creationId="{00000000-0000-0000-0000-000000000000}"/>
          </ac:spMkLst>
        </pc:spChg>
        <pc:grpChg chg="mod">
          <ac:chgData name="Tembhare, Anjulata" userId="5d3e18b3-a710-4cca-99e7-6940fdcaf89f" providerId="ADAL" clId="{885C836A-F2B5-4589-A25B-5F2C18B5FEE6}" dt="2019-05-29T06:33:41.082" v="97" actId="14100"/>
          <ac:grpSpMkLst>
            <pc:docMk/>
            <pc:sldMk cId="0" sldId="272"/>
            <ac:grpSpMk id="6" creationId="{00000000-0000-0000-0000-000000000000}"/>
          </ac:grpSpMkLst>
        </pc:grpChg>
      </pc:sldChg>
      <pc:sldChg chg="modSp">
        <pc:chgData name="Tembhare, Anjulata" userId="5d3e18b3-a710-4cca-99e7-6940fdcaf89f" providerId="ADAL" clId="{885C836A-F2B5-4589-A25B-5F2C18B5FEE6}" dt="2019-05-29T06:37:04.480" v="129" actId="14100"/>
        <pc:sldMkLst>
          <pc:docMk/>
          <pc:sldMk cId="0" sldId="273"/>
        </pc:sldMkLst>
        <pc:spChg chg="mod">
          <ac:chgData name="Tembhare, Anjulata" userId="5d3e18b3-a710-4cca-99e7-6940fdcaf89f" providerId="ADAL" clId="{885C836A-F2B5-4589-A25B-5F2C18B5FEE6}" dt="2019-05-29T06:36:43.499" v="125" actId="1076"/>
          <ac:spMkLst>
            <pc:docMk/>
            <pc:sldMk cId="0" sldId="273"/>
            <ac:spMk id="27649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5:14.313" v="111" actId="1076"/>
          <ac:spMkLst>
            <pc:docMk/>
            <pc:sldMk cId="0" sldId="273"/>
            <ac:spMk id="27665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6:24.988" v="122" actId="14100"/>
          <ac:spMkLst>
            <pc:docMk/>
            <pc:sldMk cId="0" sldId="273"/>
            <ac:spMk id="51202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6:11.094" v="119" actId="1076"/>
          <ac:spMkLst>
            <pc:docMk/>
            <pc:sldMk cId="0" sldId="273"/>
            <ac:spMk id="51203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6:36.998" v="124" actId="14100"/>
          <ac:spMkLst>
            <pc:docMk/>
            <pc:sldMk cId="0" sldId="273"/>
            <ac:spMk id="51204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6:20.385" v="121" actId="14100"/>
          <ac:spMkLst>
            <pc:docMk/>
            <pc:sldMk cId="0" sldId="273"/>
            <ac:spMk id="51206" creationId="{00000000-0000-0000-0000-000000000000}"/>
          </ac:spMkLst>
        </pc:spChg>
        <pc:grpChg chg="mod">
          <ac:chgData name="Tembhare, Anjulata" userId="5d3e18b3-a710-4cca-99e7-6940fdcaf89f" providerId="ADAL" clId="{885C836A-F2B5-4589-A25B-5F2C18B5FEE6}" dt="2019-05-29T06:36:29.134" v="123" actId="14100"/>
          <ac:grpSpMkLst>
            <pc:docMk/>
            <pc:sldMk cId="0" sldId="273"/>
            <ac:grpSpMk id="2" creationId="{00000000-0000-0000-0000-000000000000}"/>
          </ac:grpSpMkLst>
        </pc:grpChg>
        <pc:grpChg chg="mod">
          <ac:chgData name="Tembhare, Anjulata" userId="5d3e18b3-a710-4cca-99e7-6940fdcaf89f" providerId="ADAL" clId="{885C836A-F2B5-4589-A25B-5F2C18B5FEE6}" dt="2019-05-29T06:36:57.492" v="128" actId="14100"/>
          <ac:grpSpMkLst>
            <pc:docMk/>
            <pc:sldMk cId="0" sldId="273"/>
            <ac:grpSpMk id="3" creationId="{00000000-0000-0000-0000-000000000000}"/>
          </ac:grpSpMkLst>
        </pc:grpChg>
        <pc:grpChg chg="mod">
          <ac:chgData name="Tembhare, Anjulata" userId="5d3e18b3-a710-4cca-99e7-6940fdcaf89f" providerId="ADAL" clId="{885C836A-F2B5-4589-A25B-5F2C18B5FEE6}" dt="2019-05-29T06:37:04.480" v="129" actId="14100"/>
          <ac:grpSpMkLst>
            <pc:docMk/>
            <pc:sldMk cId="0" sldId="273"/>
            <ac:grpSpMk id="4" creationId="{00000000-0000-0000-0000-000000000000}"/>
          </ac:grpSpMkLst>
        </pc:grpChg>
      </pc:sldChg>
      <pc:sldChg chg="modSp">
        <pc:chgData name="Tembhare, Anjulata" userId="5d3e18b3-a710-4cca-99e7-6940fdcaf89f" providerId="ADAL" clId="{885C836A-F2B5-4589-A25B-5F2C18B5FEE6}" dt="2019-05-29T06:45:42.689" v="214" actId="403"/>
        <pc:sldMkLst>
          <pc:docMk/>
          <pc:sldMk cId="0" sldId="274"/>
        </pc:sldMkLst>
        <pc:spChg chg="mod">
          <ac:chgData name="Tembhare, Anjulata" userId="5d3e18b3-a710-4cca-99e7-6940fdcaf89f" providerId="ADAL" clId="{885C836A-F2B5-4589-A25B-5F2C18B5FEE6}" dt="2019-05-29T06:45:42.689" v="214" actId="403"/>
          <ac:spMkLst>
            <pc:docMk/>
            <pc:sldMk cId="0" sldId="274"/>
            <ac:spMk id="28674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5:45:49.007" v="2" actId="27636"/>
          <ac:spMkLst>
            <pc:docMk/>
            <pc:sldMk cId="0" sldId="274"/>
            <ac:spMk id="28675" creationId="{00000000-0000-0000-0000-000000000000}"/>
          </ac:spMkLst>
        </pc:spChg>
      </pc:sldChg>
      <pc:sldChg chg="modSp">
        <pc:chgData name="Tembhare, Anjulata" userId="5d3e18b3-a710-4cca-99e7-6940fdcaf89f" providerId="ADAL" clId="{885C836A-F2B5-4589-A25B-5F2C18B5FEE6}" dt="2019-05-29T06:37:21.771" v="131" actId="403"/>
        <pc:sldMkLst>
          <pc:docMk/>
          <pc:sldMk cId="0" sldId="275"/>
        </pc:sldMkLst>
        <pc:spChg chg="mod">
          <ac:chgData name="Tembhare, Anjulata" userId="5d3e18b3-a710-4cca-99e7-6940fdcaf89f" providerId="ADAL" clId="{885C836A-F2B5-4589-A25B-5F2C18B5FEE6}" dt="2019-05-29T06:37:21.771" v="131" actId="403"/>
          <ac:spMkLst>
            <pc:docMk/>
            <pc:sldMk cId="0" sldId="275"/>
            <ac:spMk id="29698" creationId="{00000000-0000-0000-0000-000000000000}"/>
          </ac:spMkLst>
        </pc:spChg>
      </pc:sldChg>
      <pc:sldChg chg="modSp">
        <pc:chgData name="Tembhare, Anjulata" userId="5d3e18b3-a710-4cca-99e7-6940fdcaf89f" providerId="ADAL" clId="{885C836A-F2B5-4589-A25B-5F2C18B5FEE6}" dt="2019-05-29T06:37:37.394" v="135" actId="1076"/>
        <pc:sldMkLst>
          <pc:docMk/>
          <pc:sldMk cId="0" sldId="276"/>
        </pc:sldMkLst>
        <pc:spChg chg="mod">
          <ac:chgData name="Tembhare, Anjulata" userId="5d3e18b3-a710-4cca-99e7-6940fdcaf89f" providerId="ADAL" clId="{885C836A-F2B5-4589-A25B-5F2C18B5FEE6}" dt="2019-05-29T05:45:49.019" v="3" actId="27636"/>
          <ac:spMkLst>
            <pc:docMk/>
            <pc:sldMk cId="0" sldId="276"/>
            <ac:spMk id="30722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7:37.394" v="135" actId="1076"/>
          <ac:spMkLst>
            <pc:docMk/>
            <pc:sldMk cId="0" sldId="276"/>
            <ac:spMk id="30723" creationId="{00000000-0000-0000-0000-000000000000}"/>
          </ac:spMkLst>
        </pc:spChg>
        <pc:grpChg chg="mod">
          <ac:chgData name="Tembhare, Anjulata" userId="5d3e18b3-a710-4cca-99e7-6940fdcaf89f" providerId="ADAL" clId="{885C836A-F2B5-4589-A25B-5F2C18B5FEE6}" dt="2019-05-29T06:37:28.450" v="132" actId="1076"/>
          <ac:grpSpMkLst>
            <pc:docMk/>
            <pc:sldMk cId="0" sldId="276"/>
            <ac:grpSpMk id="3" creationId="{00000000-0000-0000-0000-000000000000}"/>
          </ac:grpSpMkLst>
        </pc:grpChg>
        <pc:grpChg chg="mod">
          <ac:chgData name="Tembhare, Anjulata" userId="5d3e18b3-a710-4cca-99e7-6940fdcaf89f" providerId="ADAL" clId="{885C836A-F2B5-4589-A25B-5F2C18B5FEE6}" dt="2019-05-29T06:37:31.662" v="133" actId="1076"/>
          <ac:grpSpMkLst>
            <pc:docMk/>
            <pc:sldMk cId="0" sldId="276"/>
            <ac:grpSpMk id="7" creationId="{00000000-0000-0000-0000-000000000000}"/>
          </ac:grpSpMkLst>
        </pc:grpChg>
        <pc:grpChg chg="mod">
          <ac:chgData name="Tembhare, Anjulata" userId="5d3e18b3-a710-4cca-99e7-6940fdcaf89f" providerId="ADAL" clId="{885C836A-F2B5-4589-A25B-5F2C18B5FEE6}" dt="2019-05-29T06:37:33.826" v="134" actId="1076"/>
          <ac:grpSpMkLst>
            <pc:docMk/>
            <pc:sldMk cId="0" sldId="276"/>
            <ac:grpSpMk id="9" creationId="{00000000-0000-0000-0000-000000000000}"/>
          </ac:grpSpMkLst>
        </pc:grpChg>
      </pc:sldChg>
      <pc:sldChg chg="modSp">
        <pc:chgData name="Tembhare, Anjulata" userId="5d3e18b3-a710-4cca-99e7-6940fdcaf89f" providerId="ADAL" clId="{885C836A-F2B5-4589-A25B-5F2C18B5FEE6}" dt="2019-05-29T06:37:48.281" v="138" actId="403"/>
        <pc:sldMkLst>
          <pc:docMk/>
          <pc:sldMk cId="0" sldId="277"/>
        </pc:sldMkLst>
        <pc:spChg chg="mod">
          <ac:chgData name="Tembhare, Anjulata" userId="5d3e18b3-a710-4cca-99e7-6940fdcaf89f" providerId="ADAL" clId="{885C836A-F2B5-4589-A25B-5F2C18B5FEE6}" dt="2019-05-29T06:37:48.281" v="138" actId="403"/>
          <ac:spMkLst>
            <pc:docMk/>
            <pc:sldMk cId="0" sldId="277"/>
            <ac:spMk id="31746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5:45:49.027" v="4" actId="27636"/>
          <ac:spMkLst>
            <pc:docMk/>
            <pc:sldMk cId="0" sldId="277"/>
            <ac:spMk id="31747" creationId="{00000000-0000-0000-0000-000000000000}"/>
          </ac:spMkLst>
        </pc:spChg>
      </pc:sldChg>
      <pc:sldChg chg="modSp">
        <pc:chgData name="Tembhare, Anjulata" userId="5d3e18b3-a710-4cca-99e7-6940fdcaf89f" providerId="ADAL" clId="{885C836A-F2B5-4589-A25B-5F2C18B5FEE6}" dt="2019-05-29T06:37:55.701" v="140" actId="403"/>
        <pc:sldMkLst>
          <pc:docMk/>
          <pc:sldMk cId="0" sldId="278"/>
        </pc:sldMkLst>
        <pc:spChg chg="mod">
          <ac:chgData name="Tembhare, Anjulata" userId="5d3e18b3-a710-4cca-99e7-6940fdcaf89f" providerId="ADAL" clId="{885C836A-F2B5-4589-A25B-5F2C18B5FEE6}" dt="2019-05-29T06:37:55.701" v="140" actId="403"/>
          <ac:spMkLst>
            <pc:docMk/>
            <pc:sldMk cId="0" sldId="278"/>
            <ac:spMk id="32770" creationId="{00000000-0000-0000-0000-000000000000}"/>
          </ac:spMkLst>
        </pc:spChg>
      </pc:sldChg>
      <pc:sldChg chg="modSp">
        <pc:chgData name="Tembhare, Anjulata" userId="5d3e18b3-a710-4cca-99e7-6940fdcaf89f" providerId="ADAL" clId="{885C836A-F2B5-4589-A25B-5F2C18B5FEE6}" dt="2019-05-29T06:38:19.399" v="142" actId="403"/>
        <pc:sldMkLst>
          <pc:docMk/>
          <pc:sldMk cId="0" sldId="279"/>
        </pc:sldMkLst>
        <pc:spChg chg="mod">
          <ac:chgData name="Tembhare, Anjulata" userId="5d3e18b3-a710-4cca-99e7-6940fdcaf89f" providerId="ADAL" clId="{885C836A-F2B5-4589-A25B-5F2C18B5FEE6}" dt="2019-05-29T06:38:19.399" v="142" actId="403"/>
          <ac:spMkLst>
            <pc:docMk/>
            <pc:sldMk cId="0" sldId="279"/>
            <ac:spMk id="33794" creationId="{00000000-0000-0000-0000-000000000000}"/>
          </ac:spMkLst>
        </pc:spChg>
      </pc:sldChg>
      <pc:sldChg chg="modSp">
        <pc:chgData name="Tembhare, Anjulata" userId="5d3e18b3-a710-4cca-99e7-6940fdcaf89f" providerId="ADAL" clId="{885C836A-F2B5-4589-A25B-5F2C18B5FEE6}" dt="2019-05-29T06:38:32.598" v="144" actId="403"/>
        <pc:sldMkLst>
          <pc:docMk/>
          <pc:sldMk cId="0" sldId="280"/>
        </pc:sldMkLst>
        <pc:spChg chg="mod">
          <ac:chgData name="Tembhare, Anjulata" userId="5d3e18b3-a710-4cca-99e7-6940fdcaf89f" providerId="ADAL" clId="{885C836A-F2B5-4589-A25B-5F2C18B5FEE6}" dt="2019-05-29T06:38:32.598" v="144" actId="403"/>
          <ac:spMkLst>
            <pc:docMk/>
            <pc:sldMk cId="0" sldId="280"/>
            <ac:spMk id="34819" creationId="{00000000-0000-0000-0000-000000000000}"/>
          </ac:spMkLst>
        </pc:spChg>
      </pc:sldChg>
      <pc:sldChg chg="modSp">
        <pc:chgData name="Tembhare, Anjulata" userId="5d3e18b3-a710-4cca-99e7-6940fdcaf89f" providerId="ADAL" clId="{885C836A-F2B5-4589-A25B-5F2C18B5FEE6}" dt="2019-05-29T06:38:38.465" v="146" actId="403"/>
        <pc:sldMkLst>
          <pc:docMk/>
          <pc:sldMk cId="0" sldId="281"/>
        </pc:sldMkLst>
        <pc:spChg chg="mod">
          <ac:chgData name="Tembhare, Anjulata" userId="5d3e18b3-a710-4cca-99e7-6940fdcaf89f" providerId="ADAL" clId="{885C836A-F2B5-4589-A25B-5F2C18B5FEE6}" dt="2019-05-29T06:38:38.465" v="146" actId="403"/>
          <ac:spMkLst>
            <pc:docMk/>
            <pc:sldMk cId="0" sldId="281"/>
            <ac:spMk id="35842" creationId="{00000000-0000-0000-0000-000000000000}"/>
          </ac:spMkLst>
        </pc:spChg>
      </pc:sldChg>
      <pc:sldChg chg="modSp">
        <pc:chgData name="Tembhare, Anjulata" userId="5d3e18b3-a710-4cca-99e7-6940fdcaf89f" providerId="ADAL" clId="{885C836A-F2B5-4589-A25B-5F2C18B5FEE6}" dt="2019-05-29T06:45:29.614" v="212" actId="403"/>
        <pc:sldMkLst>
          <pc:docMk/>
          <pc:sldMk cId="0" sldId="283"/>
        </pc:sldMkLst>
        <pc:spChg chg="mod">
          <ac:chgData name="Tembhare, Anjulata" userId="5d3e18b3-a710-4cca-99e7-6940fdcaf89f" providerId="ADAL" clId="{885C836A-F2B5-4589-A25B-5F2C18B5FEE6}" dt="2019-05-29T06:39:37.996" v="154" actId="14100"/>
          <ac:spMkLst>
            <pc:docMk/>
            <pc:sldMk cId="0" sldId="283"/>
            <ac:spMk id="2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9:16.272" v="150" actId="14100"/>
          <ac:spMkLst>
            <pc:docMk/>
            <pc:sldMk cId="0" sldId="283"/>
            <ac:spMk id="3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9:09.185" v="149" actId="14100"/>
          <ac:spMkLst>
            <pc:docMk/>
            <pc:sldMk cId="0" sldId="283"/>
            <ac:spMk id="4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45:29.614" v="212" actId="403"/>
          <ac:spMkLst>
            <pc:docMk/>
            <pc:sldMk cId="0" sldId="283"/>
            <ac:spMk id="37890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8:57.543" v="148" actId="1076"/>
          <ac:spMkLst>
            <pc:docMk/>
            <pc:sldMk cId="0" sldId="283"/>
            <ac:spMk id="71697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9:26.037" v="152" actId="2710"/>
          <ac:spMkLst>
            <pc:docMk/>
            <pc:sldMk cId="0" sldId="283"/>
            <ac:spMk id="71700" creationId="{00000000-0000-0000-0000-000000000000}"/>
          </ac:spMkLst>
        </pc:spChg>
      </pc:sldChg>
      <pc:sldChg chg="modSp">
        <pc:chgData name="Tembhare, Anjulata" userId="5d3e18b3-a710-4cca-99e7-6940fdcaf89f" providerId="ADAL" clId="{885C836A-F2B5-4589-A25B-5F2C18B5FEE6}" dt="2019-05-29T06:40:20.141" v="157" actId="14100"/>
        <pc:sldMkLst>
          <pc:docMk/>
          <pc:sldMk cId="0" sldId="287"/>
        </pc:sldMkLst>
        <pc:spChg chg="mod">
          <ac:chgData name="Tembhare, Anjulata" userId="5d3e18b3-a710-4cca-99e7-6940fdcaf89f" providerId="ADAL" clId="{885C836A-F2B5-4589-A25B-5F2C18B5FEE6}" dt="2019-05-29T06:40:20.141" v="157" actId="14100"/>
          <ac:spMkLst>
            <pc:docMk/>
            <pc:sldMk cId="0" sldId="287"/>
            <ac:spMk id="81939" creationId="{00000000-0000-0000-0000-000000000000}"/>
          </ac:spMkLst>
        </pc:spChg>
      </pc:sldChg>
      <pc:sldChg chg="delSp modSp">
        <pc:chgData name="Tembhare, Anjulata" userId="5d3e18b3-a710-4cca-99e7-6940fdcaf89f" providerId="ADAL" clId="{885C836A-F2B5-4589-A25B-5F2C18B5FEE6}" dt="2019-05-29T06:45:51.927" v="216" actId="1076"/>
        <pc:sldMkLst>
          <pc:docMk/>
          <pc:sldMk cId="1783498961" sldId="290"/>
        </pc:sldMkLst>
        <pc:spChg chg="mod">
          <ac:chgData name="Tembhare, Anjulata" userId="5d3e18b3-a710-4cca-99e7-6940fdcaf89f" providerId="ADAL" clId="{885C836A-F2B5-4589-A25B-5F2C18B5FEE6}" dt="2019-05-29T06:45:51.927" v="216" actId="1076"/>
          <ac:spMkLst>
            <pc:docMk/>
            <pc:sldMk cId="1783498961" sldId="290"/>
            <ac:spMk id="2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4:33.200" v="108" actId="14100"/>
          <ac:spMkLst>
            <pc:docMk/>
            <pc:sldMk cId="1783498961" sldId="290"/>
            <ac:spMk id="82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4:31.228" v="107" actId="14100"/>
          <ac:spMkLst>
            <pc:docMk/>
            <pc:sldMk cId="1783498961" sldId="290"/>
            <ac:spMk id="83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4:28.930" v="106" actId="14100"/>
          <ac:spMkLst>
            <pc:docMk/>
            <pc:sldMk cId="1783498961" sldId="290"/>
            <ac:spMk id="84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4:27.074" v="105" actId="14100"/>
          <ac:spMkLst>
            <pc:docMk/>
            <pc:sldMk cId="1783498961" sldId="290"/>
            <ac:spMk id="85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4:19.669" v="102" actId="14100"/>
          <ac:spMkLst>
            <pc:docMk/>
            <pc:sldMk cId="1783498961" sldId="290"/>
            <ac:spMk id="86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4:22.043" v="103" actId="14100"/>
          <ac:spMkLst>
            <pc:docMk/>
            <pc:sldMk cId="1783498961" sldId="290"/>
            <ac:spMk id="87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4:24.438" v="104" actId="14100"/>
          <ac:spMkLst>
            <pc:docMk/>
            <pc:sldMk cId="1783498961" sldId="290"/>
            <ac:spMk id="88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4:16.949" v="101" actId="14100"/>
          <ac:spMkLst>
            <pc:docMk/>
            <pc:sldMk cId="1783498961" sldId="290"/>
            <ac:spMk id="89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4:42.865" v="109" actId="14100"/>
          <ac:spMkLst>
            <pc:docMk/>
            <pc:sldMk cId="1783498961" sldId="290"/>
            <ac:spMk id="90" creationId="{00000000-0000-0000-0000-000000000000}"/>
          </ac:spMkLst>
        </pc:spChg>
        <pc:grpChg chg="del">
          <ac:chgData name="Tembhare, Anjulata" userId="5d3e18b3-a710-4cca-99e7-6940fdcaf89f" providerId="ADAL" clId="{885C836A-F2B5-4589-A25B-5F2C18B5FEE6}" dt="2019-05-29T06:45:48.688" v="215" actId="478"/>
          <ac:grpSpMkLst>
            <pc:docMk/>
            <pc:sldMk cId="1783498961" sldId="290"/>
            <ac:grpSpMk id="3" creationId="{00000000-0000-0000-0000-000000000000}"/>
          </ac:grpSpMkLst>
        </pc:grpChg>
      </pc:sldChg>
      <pc:sldChg chg="addSp delSp modSp">
        <pc:chgData name="Tembhare, Anjulata" userId="5d3e18b3-a710-4cca-99e7-6940fdcaf89f" providerId="ADAL" clId="{885C836A-F2B5-4589-A25B-5F2C18B5FEE6}" dt="2019-05-29T06:46:54.891" v="226" actId="403"/>
        <pc:sldMkLst>
          <pc:docMk/>
          <pc:sldMk cId="0" sldId="291"/>
        </pc:sldMkLst>
        <pc:spChg chg="add del mod">
          <ac:chgData name="Tembhare, Anjulata" userId="5d3e18b3-a710-4cca-99e7-6940fdcaf89f" providerId="ADAL" clId="{885C836A-F2B5-4589-A25B-5F2C18B5FEE6}" dt="2019-05-29T05:54:01.893" v="14" actId="478"/>
          <ac:spMkLst>
            <pc:docMk/>
            <pc:sldMk cId="0" sldId="291"/>
            <ac:spMk id="2" creationId="{238114B5-4FC8-4BA6-888E-8FBCF8F19EEF}"/>
          </ac:spMkLst>
        </pc:spChg>
        <pc:spChg chg="mod">
          <ac:chgData name="Tembhare, Anjulata" userId="5d3e18b3-a710-4cca-99e7-6940fdcaf89f" providerId="ADAL" clId="{885C836A-F2B5-4589-A25B-5F2C18B5FEE6}" dt="2019-05-29T06:46:54.891" v="226" actId="403"/>
          <ac:spMkLst>
            <pc:docMk/>
            <pc:sldMk cId="0" sldId="291"/>
            <ac:spMk id="2236" creationId="{00000000-0000-0000-0000-000000000000}"/>
          </ac:spMkLst>
        </pc:spChg>
      </pc:sldChg>
      <pc:sldChg chg="delSp modSp">
        <pc:chgData name="Tembhare, Anjulata" userId="5d3e18b3-a710-4cca-99e7-6940fdcaf89f" providerId="ADAL" clId="{885C836A-F2B5-4589-A25B-5F2C18B5FEE6}" dt="2019-05-29T06:41:03.842" v="160" actId="14100"/>
        <pc:sldMkLst>
          <pc:docMk/>
          <pc:sldMk cId="217028178" sldId="292"/>
        </pc:sldMkLst>
        <pc:spChg chg="mod">
          <ac:chgData name="Tembhare, Anjulata" userId="5d3e18b3-a710-4cca-99e7-6940fdcaf89f" providerId="ADAL" clId="{885C836A-F2B5-4589-A25B-5F2C18B5FEE6}" dt="2019-05-29T06:40:56.928" v="159" actId="403"/>
          <ac:spMkLst>
            <pc:docMk/>
            <pc:sldMk cId="217028178" sldId="292"/>
            <ac:spMk id="3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41:03.842" v="160" actId="14100"/>
          <ac:spMkLst>
            <pc:docMk/>
            <pc:sldMk cId="217028178" sldId="292"/>
            <ac:spMk id="91" creationId="{00000000-0000-0000-0000-000000000000}"/>
          </ac:spMkLst>
        </pc:spChg>
        <pc:grpChg chg="del">
          <ac:chgData name="Tembhare, Anjulata" userId="5d3e18b3-a710-4cca-99e7-6940fdcaf89f" providerId="ADAL" clId="{885C836A-F2B5-4589-A25B-5F2C18B5FEE6}" dt="2019-05-29T06:40:53.189" v="158" actId="478"/>
          <ac:grpSpMkLst>
            <pc:docMk/>
            <pc:sldMk cId="217028178" sldId="292"/>
            <ac:grpSpMk id="2" creationId="{00000000-0000-0000-0000-000000000000}"/>
          </ac:grpSpMkLst>
        </pc:grpChg>
      </pc:sldChg>
      <pc:sldChg chg="delSp modSp">
        <pc:chgData name="Tembhare, Anjulata" userId="5d3e18b3-a710-4cca-99e7-6940fdcaf89f" providerId="ADAL" clId="{885C836A-F2B5-4589-A25B-5F2C18B5FEE6}" dt="2019-05-29T06:41:13.754" v="163" actId="403"/>
        <pc:sldMkLst>
          <pc:docMk/>
          <pc:sldMk cId="217028178" sldId="293"/>
        </pc:sldMkLst>
        <pc:spChg chg="mod">
          <ac:chgData name="Tembhare, Anjulata" userId="5d3e18b3-a710-4cca-99e7-6940fdcaf89f" providerId="ADAL" clId="{885C836A-F2B5-4589-A25B-5F2C18B5FEE6}" dt="2019-05-29T06:41:13.754" v="163" actId="403"/>
          <ac:spMkLst>
            <pc:docMk/>
            <pc:sldMk cId="217028178" sldId="293"/>
            <ac:spMk id="3" creationId="{00000000-0000-0000-0000-000000000000}"/>
          </ac:spMkLst>
        </pc:spChg>
        <pc:grpChg chg="del">
          <ac:chgData name="Tembhare, Anjulata" userId="5d3e18b3-a710-4cca-99e7-6940fdcaf89f" providerId="ADAL" clId="{885C836A-F2B5-4589-A25B-5F2C18B5FEE6}" dt="2019-05-29T06:41:09.193" v="161" actId="478"/>
          <ac:grpSpMkLst>
            <pc:docMk/>
            <pc:sldMk cId="217028178" sldId="293"/>
            <ac:grpSpMk id="2" creationId="{00000000-0000-0000-0000-000000000000}"/>
          </ac:grpSpMkLst>
        </pc:grpChg>
      </pc:sldChg>
      <pc:sldChg chg="delSp modSp">
        <pc:chgData name="Tembhare, Anjulata" userId="5d3e18b3-a710-4cca-99e7-6940fdcaf89f" providerId="ADAL" clId="{885C836A-F2B5-4589-A25B-5F2C18B5FEE6}" dt="2019-05-29T06:41:28.511" v="167" actId="14100"/>
        <pc:sldMkLst>
          <pc:docMk/>
          <pc:sldMk cId="217028178" sldId="294"/>
        </pc:sldMkLst>
        <pc:spChg chg="mod">
          <ac:chgData name="Tembhare, Anjulata" userId="5d3e18b3-a710-4cca-99e7-6940fdcaf89f" providerId="ADAL" clId="{885C836A-F2B5-4589-A25B-5F2C18B5FEE6}" dt="2019-05-29T06:41:23.960" v="166" actId="403"/>
          <ac:spMkLst>
            <pc:docMk/>
            <pc:sldMk cId="217028178" sldId="294"/>
            <ac:spMk id="3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41:28.511" v="167" actId="14100"/>
          <ac:spMkLst>
            <pc:docMk/>
            <pc:sldMk cId="217028178" sldId="294"/>
            <ac:spMk id="91" creationId="{00000000-0000-0000-0000-000000000000}"/>
          </ac:spMkLst>
        </pc:spChg>
        <pc:grpChg chg="del">
          <ac:chgData name="Tembhare, Anjulata" userId="5d3e18b3-a710-4cca-99e7-6940fdcaf89f" providerId="ADAL" clId="{885C836A-F2B5-4589-A25B-5F2C18B5FEE6}" dt="2019-05-29T06:41:19.961" v="164" actId="478"/>
          <ac:grpSpMkLst>
            <pc:docMk/>
            <pc:sldMk cId="217028178" sldId="294"/>
            <ac:grpSpMk id="2" creationId="{00000000-0000-0000-0000-000000000000}"/>
          </ac:grpSpMkLst>
        </pc:grpChg>
      </pc:sldChg>
      <pc:sldChg chg="delSp modSp">
        <pc:chgData name="Tembhare, Anjulata" userId="5d3e18b3-a710-4cca-99e7-6940fdcaf89f" providerId="ADAL" clId="{885C836A-F2B5-4589-A25B-5F2C18B5FEE6}" dt="2019-05-29T06:42:12.172" v="176" actId="403"/>
        <pc:sldMkLst>
          <pc:docMk/>
          <pc:sldMk cId="217028178" sldId="295"/>
        </pc:sldMkLst>
        <pc:spChg chg="mod">
          <ac:chgData name="Tembhare, Anjulata" userId="5d3e18b3-a710-4cca-99e7-6940fdcaf89f" providerId="ADAL" clId="{885C836A-F2B5-4589-A25B-5F2C18B5FEE6}" dt="2019-05-29T06:42:12.172" v="176" actId="403"/>
          <ac:spMkLst>
            <pc:docMk/>
            <pc:sldMk cId="217028178" sldId="295"/>
            <ac:spMk id="3" creationId="{00000000-0000-0000-0000-000000000000}"/>
          </ac:spMkLst>
        </pc:spChg>
        <pc:grpChg chg="del">
          <ac:chgData name="Tembhare, Anjulata" userId="5d3e18b3-a710-4cca-99e7-6940fdcaf89f" providerId="ADAL" clId="{885C836A-F2B5-4589-A25B-5F2C18B5FEE6}" dt="2019-05-29T06:42:08.302" v="175" actId="478"/>
          <ac:grpSpMkLst>
            <pc:docMk/>
            <pc:sldMk cId="217028178" sldId="295"/>
            <ac:grpSpMk id="2" creationId="{00000000-0000-0000-0000-000000000000}"/>
          </ac:grpSpMkLst>
        </pc:grpChg>
      </pc:sldChg>
      <pc:sldChg chg="delSp">
        <pc:chgData name="Tembhare, Anjulata" userId="5d3e18b3-a710-4cca-99e7-6940fdcaf89f" providerId="ADAL" clId="{885C836A-F2B5-4589-A25B-5F2C18B5FEE6}" dt="2019-05-29T06:42:17" v="177" actId="478"/>
        <pc:sldMkLst>
          <pc:docMk/>
          <pc:sldMk cId="3806968413" sldId="296"/>
        </pc:sldMkLst>
        <pc:grpChg chg="del">
          <ac:chgData name="Tembhare, Anjulata" userId="5d3e18b3-a710-4cca-99e7-6940fdcaf89f" providerId="ADAL" clId="{885C836A-F2B5-4589-A25B-5F2C18B5FEE6}" dt="2019-05-29T06:42:17" v="177" actId="478"/>
          <ac:grpSpMkLst>
            <pc:docMk/>
            <pc:sldMk cId="3806968413" sldId="296"/>
            <ac:grpSpMk id="25" creationId="{00000000-0000-0000-0000-000000000000}"/>
          </ac:grpSpMkLst>
        </pc:grpChg>
      </pc:sldChg>
      <pc:sldChg chg="delSp">
        <pc:chgData name="Tembhare, Anjulata" userId="5d3e18b3-a710-4cca-99e7-6940fdcaf89f" providerId="ADAL" clId="{885C836A-F2B5-4589-A25B-5F2C18B5FEE6}" dt="2019-05-29T06:42:22.076" v="178" actId="478"/>
        <pc:sldMkLst>
          <pc:docMk/>
          <pc:sldMk cId="3258304876" sldId="297"/>
        </pc:sldMkLst>
        <pc:grpChg chg="del">
          <ac:chgData name="Tembhare, Anjulata" userId="5d3e18b3-a710-4cca-99e7-6940fdcaf89f" providerId="ADAL" clId="{885C836A-F2B5-4589-A25B-5F2C18B5FEE6}" dt="2019-05-29T06:42:22.076" v="178" actId="478"/>
          <ac:grpSpMkLst>
            <pc:docMk/>
            <pc:sldMk cId="3258304876" sldId="297"/>
            <ac:grpSpMk id="2" creationId="{00000000-0000-0000-0000-000000000000}"/>
          </ac:grpSpMkLst>
        </pc:grpChg>
      </pc:sldChg>
      <pc:sldChg chg="delSp modSp">
        <pc:chgData name="Tembhare, Anjulata" userId="5d3e18b3-a710-4cca-99e7-6940fdcaf89f" providerId="ADAL" clId="{885C836A-F2B5-4589-A25B-5F2C18B5FEE6}" dt="2019-05-29T06:42:25.670" v="179" actId="478"/>
        <pc:sldMkLst>
          <pc:docMk/>
          <pc:sldMk cId="0" sldId="298"/>
        </pc:sldMkLst>
        <pc:spChg chg="mod">
          <ac:chgData name="Tembhare, Anjulata" userId="5d3e18b3-a710-4cca-99e7-6940fdcaf89f" providerId="ADAL" clId="{885C836A-F2B5-4589-A25B-5F2C18B5FEE6}" dt="2019-05-29T05:45:49.047" v="5" actId="27636"/>
          <ac:spMkLst>
            <pc:docMk/>
            <pc:sldMk cId="0" sldId="298"/>
            <ac:spMk id="134" creationId="{00000000-0000-0000-0000-000000000000}"/>
          </ac:spMkLst>
        </pc:spChg>
        <pc:grpChg chg="del">
          <ac:chgData name="Tembhare, Anjulata" userId="5d3e18b3-a710-4cca-99e7-6940fdcaf89f" providerId="ADAL" clId="{885C836A-F2B5-4589-A25B-5F2C18B5FEE6}" dt="2019-05-29T06:42:25.670" v="179" actId="478"/>
          <ac:grpSpMkLst>
            <pc:docMk/>
            <pc:sldMk cId="0" sldId="298"/>
            <ac:grpSpMk id="5" creationId="{00000000-0000-0000-0000-000000000000}"/>
          </ac:grpSpMkLst>
        </pc:grpChg>
      </pc:sldChg>
      <pc:sldChg chg="modSp">
        <pc:chgData name="Tembhare, Anjulata" userId="5d3e18b3-a710-4cca-99e7-6940fdcaf89f" providerId="ADAL" clId="{885C836A-F2B5-4589-A25B-5F2C18B5FEE6}" dt="2019-05-29T06:33:23.814" v="93" actId="404"/>
        <pc:sldMkLst>
          <pc:docMk/>
          <pc:sldMk cId="3068026841" sldId="299"/>
        </pc:sldMkLst>
        <pc:spChg chg="mod">
          <ac:chgData name="Tembhare, Anjulata" userId="5d3e18b3-a710-4cca-99e7-6940fdcaf89f" providerId="ADAL" clId="{885C836A-F2B5-4589-A25B-5F2C18B5FEE6}" dt="2019-05-29T06:33:23.814" v="93" actId="404"/>
          <ac:spMkLst>
            <pc:docMk/>
            <pc:sldMk cId="3068026841" sldId="299"/>
            <ac:spMk id="5" creationId="{00000000-0000-0000-0000-000000000000}"/>
          </ac:spMkLst>
        </pc:spChg>
      </pc:sldChg>
      <pc:sldChg chg="modSp">
        <pc:chgData name="Tembhare, Anjulata" userId="5d3e18b3-a710-4cca-99e7-6940fdcaf89f" providerId="ADAL" clId="{885C836A-F2B5-4589-A25B-5F2C18B5FEE6}" dt="2019-05-29T06:33:06.790" v="92" actId="6549"/>
        <pc:sldMkLst>
          <pc:docMk/>
          <pc:sldMk cId="4290272883" sldId="300"/>
        </pc:sldMkLst>
        <pc:spChg chg="mod">
          <ac:chgData name="Tembhare, Anjulata" userId="5d3e18b3-a710-4cca-99e7-6940fdcaf89f" providerId="ADAL" clId="{885C836A-F2B5-4589-A25B-5F2C18B5FEE6}" dt="2019-05-29T06:33:06.790" v="92" actId="6549"/>
          <ac:spMkLst>
            <pc:docMk/>
            <pc:sldMk cId="4290272883" sldId="300"/>
            <ac:spMk id="2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3:01.271" v="91" actId="14100"/>
          <ac:spMkLst>
            <pc:docMk/>
            <pc:sldMk cId="4290272883" sldId="300"/>
            <ac:spMk id="4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2:46.076" v="89" actId="1076"/>
          <ac:spMkLst>
            <pc:docMk/>
            <pc:sldMk cId="4290272883" sldId="300"/>
            <ac:spMk id="5" creationId="{00000000-0000-0000-0000-000000000000}"/>
          </ac:spMkLst>
        </pc:spChg>
      </pc:sldChg>
      <pc:sldChg chg="delSp modSp">
        <pc:chgData name="Tembhare, Anjulata" userId="5d3e18b3-a710-4cca-99e7-6940fdcaf89f" providerId="ADAL" clId="{885C836A-F2B5-4589-A25B-5F2C18B5FEE6}" dt="2019-05-29T06:45:11.043" v="209" actId="207"/>
        <pc:sldMkLst>
          <pc:docMk/>
          <pc:sldMk cId="1783498961" sldId="302"/>
        </pc:sldMkLst>
        <pc:spChg chg="mod">
          <ac:chgData name="Tembhare, Anjulata" userId="5d3e18b3-a710-4cca-99e7-6940fdcaf89f" providerId="ADAL" clId="{885C836A-F2B5-4589-A25B-5F2C18B5FEE6}" dt="2019-05-29T06:45:11.043" v="209" actId="207"/>
          <ac:spMkLst>
            <pc:docMk/>
            <pc:sldMk cId="1783498961" sldId="302"/>
            <ac:spMk id="2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41:57.647" v="172" actId="1076"/>
          <ac:spMkLst>
            <pc:docMk/>
            <pc:sldMk cId="1783498961" sldId="302"/>
            <ac:spMk id="10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41:48.772" v="170" actId="1076"/>
          <ac:spMkLst>
            <pc:docMk/>
            <pc:sldMk cId="1783498961" sldId="302"/>
            <ac:spMk id="13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41:52.531" v="171" actId="1076"/>
          <ac:spMkLst>
            <pc:docMk/>
            <pc:sldMk cId="1783498961" sldId="302"/>
            <ac:spMk id="16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41:45.305" v="169" actId="1076"/>
          <ac:spMkLst>
            <pc:docMk/>
            <pc:sldMk cId="1783498961" sldId="302"/>
            <ac:spMk id="17" creationId="{00000000-0000-0000-0000-000000000000}"/>
          </ac:spMkLst>
        </pc:spChg>
        <pc:grpChg chg="del">
          <ac:chgData name="Tembhare, Anjulata" userId="5d3e18b3-a710-4cca-99e7-6940fdcaf89f" providerId="ADAL" clId="{885C836A-F2B5-4589-A25B-5F2C18B5FEE6}" dt="2019-05-29T06:41:38.833" v="168" actId="478"/>
          <ac:grpSpMkLst>
            <pc:docMk/>
            <pc:sldMk cId="1783498961" sldId="302"/>
            <ac:grpSpMk id="3" creationId="{00000000-0000-0000-0000-000000000000}"/>
          </ac:grpSpMkLst>
        </pc:grpChg>
      </pc:sldChg>
      <pc:sldChg chg="addSp delSp modSp del">
        <pc:chgData name="Tembhare, Anjulata" userId="5d3e18b3-a710-4cca-99e7-6940fdcaf89f" providerId="ADAL" clId="{885C836A-F2B5-4589-A25B-5F2C18B5FEE6}" dt="2019-05-29T06:44:48.369" v="206" actId="2696"/>
        <pc:sldMkLst>
          <pc:docMk/>
          <pc:sldMk cId="77199730" sldId="303"/>
        </pc:sldMkLst>
        <pc:spChg chg="add del mod">
          <ac:chgData name="Tembhare, Anjulata" userId="5d3e18b3-a710-4cca-99e7-6940fdcaf89f" providerId="ADAL" clId="{885C836A-F2B5-4589-A25B-5F2C18B5FEE6}" dt="2019-05-29T06:42:44.674" v="181"/>
          <ac:spMkLst>
            <pc:docMk/>
            <pc:sldMk cId="77199730" sldId="303"/>
            <ac:spMk id="2" creationId="{52E47FB1-F24A-4249-975C-D895AA0AB34D}"/>
          </ac:spMkLst>
        </pc:spChg>
        <pc:spChg chg="add del mod">
          <ac:chgData name="Tembhare, Anjulata" userId="5d3e18b3-a710-4cca-99e7-6940fdcaf89f" providerId="ADAL" clId="{885C836A-F2B5-4589-A25B-5F2C18B5FEE6}" dt="2019-05-29T06:42:44.674" v="181"/>
          <ac:spMkLst>
            <pc:docMk/>
            <pc:sldMk cId="77199730" sldId="303"/>
            <ac:spMk id="3" creationId="{4D66C325-1B3A-4669-9E4D-45B51F23D361}"/>
          </ac:spMkLst>
        </pc:spChg>
        <pc:spChg chg="add del mod">
          <ac:chgData name="Tembhare, Anjulata" userId="5d3e18b3-a710-4cca-99e7-6940fdcaf89f" providerId="ADAL" clId="{885C836A-F2B5-4589-A25B-5F2C18B5FEE6}" dt="2019-05-29T06:43:04.694" v="183"/>
          <ac:spMkLst>
            <pc:docMk/>
            <pc:sldMk cId="77199730" sldId="303"/>
            <ac:spMk id="4" creationId="{2D2ADD0F-3F05-42FF-A16A-34B42C84D872}"/>
          </ac:spMkLst>
        </pc:spChg>
        <pc:spChg chg="add del mod">
          <ac:chgData name="Tembhare, Anjulata" userId="5d3e18b3-a710-4cca-99e7-6940fdcaf89f" providerId="ADAL" clId="{885C836A-F2B5-4589-A25B-5F2C18B5FEE6}" dt="2019-05-29T06:43:04.694" v="183"/>
          <ac:spMkLst>
            <pc:docMk/>
            <pc:sldMk cId="77199730" sldId="303"/>
            <ac:spMk id="5" creationId="{CCBEB875-3091-47BD-A8DB-A00E6A0551CB}"/>
          </ac:spMkLst>
        </pc:spChg>
        <pc:spChg chg="add del mod">
          <ac:chgData name="Tembhare, Anjulata" userId="5d3e18b3-a710-4cca-99e7-6940fdcaf89f" providerId="ADAL" clId="{885C836A-F2B5-4589-A25B-5F2C18B5FEE6}" dt="2019-05-29T06:43:17.237" v="184"/>
          <ac:spMkLst>
            <pc:docMk/>
            <pc:sldMk cId="77199730" sldId="303"/>
            <ac:spMk id="6" creationId="{B981430B-3921-4436-BB96-3FF1C062E322}"/>
          </ac:spMkLst>
        </pc:spChg>
        <pc:spChg chg="add del mod">
          <ac:chgData name="Tembhare, Anjulata" userId="5d3e18b3-a710-4cca-99e7-6940fdcaf89f" providerId="ADAL" clId="{885C836A-F2B5-4589-A25B-5F2C18B5FEE6}" dt="2019-05-29T06:43:17.237" v="184"/>
          <ac:spMkLst>
            <pc:docMk/>
            <pc:sldMk cId="77199730" sldId="303"/>
            <ac:spMk id="7" creationId="{36FD846C-7559-4F2E-A7A0-8226E47665E0}"/>
          </ac:spMkLst>
        </pc:spChg>
        <pc:spChg chg="add del mod">
          <ac:chgData name="Tembhare, Anjulata" userId="5d3e18b3-a710-4cca-99e7-6940fdcaf89f" providerId="ADAL" clId="{885C836A-F2B5-4589-A25B-5F2C18B5FEE6}" dt="2019-05-29T06:43:17.237" v="184"/>
          <ac:spMkLst>
            <pc:docMk/>
            <pc:sldMk cId="77199730" sldId="303"/>
            <ac:spMk id="8" creationId="{2AFBD848-8BBE-485F-AC75-9514DAD8A237}"/>
          </ac:spMkLst>
        </pc:spChg>
        <pc:spChg chg="add del mod">
          <ac:chgData name="Tembhare, Anjulata" userId="5d3e18b3-a710-4cca-99e7-6940fdcaf89f" providerId="ADAL" clId="{885C836A-F2B5-4589-A25B-5F2C18B5FEE6}" dt="2019-05-29T06:43:17.237" v="184"/>
          <ac:spMkLst>
            <pc:docMk/>
            <pc:sldMk cId="77199730" sldId="303"/>
            <ac:spMk id="9" creationId="{A62D4ED3-4391-454E-8981-C93423F6D95F}"/>
          </ac:spMkLst>
        </pc:spChg>
        <pc:spChg chg="add del mod">
          <ac:chgData name="Tembhare, Anjulata" userId="5d3e18b3-a710-4cca-99e7-6940fdcaf89f" providerId="ADAL" clId="{885C836A-F2B5-4589-A25B-5F2C18B5FEE6}" dt="2019-05-29T06:43:17.237" v="184"/>
          <ac:spMkLst>
            <pc:docMk/>
            <pc:sldMk cId="77199730" sldId="303"/>
            <ac:spMk id="10" creationId="{7E82F1FD-C247-4BCC-A0C8-89F74B776C60}"/>
          </ac:spMkLst>
        </pc:spChg>
        <pc:spChg chg="add mod">
          <ac:chgData name="Tembhare, Anjulata" userId="5d3e18b3-a710-4cca-99e7-6940fdcaf89f" providerId="ADAL" clId="{885C836A-F2B5-4589-A25B-5F2C18B5FEE6}" dt="2019-05-29T06:43:17.237" v="184"/>
          <ac:spMkLst>
            <pc:docMk/>
            <pc:sldMk cId="77199730" sldId="303"/>
            <ac:spMk id="11" creationId="{77F47FF6-187B-435F-90C2-6E7341C75102}"/>
          </ac:spMkLst>
        </pc:spChg>
        <pc:spChg chg="add mod">
          <ac:chgData name="Tembhare, Anjulata" userId="5d3e18b3-a710-4cca-99e7-6940fdcaf89f" providerId="ADAL" clId="{885C836A-F2B5-4589-A25B-5F2C18B5FEE6}" dt="2019-05-29T06:43:17.237" v="184"/>
          <ac:spMkLst>
            <pc:docMk/>
            <pc:sldMk cId="77199730" sldId="303"/>
            <ac:spMk id="12" creationId="{E48CCAA4-8BE1-479B-97C3-69DEEB059C74}"/>
          </ac:spMkLst>
        </pc:spChg>
      </pc:sldChg>
      <pc:sldChg chg="modSp">
        <pc:chgData name="Tembhare, Anjulata" userId="5d3e18b3-a710-4cca-99e7-6940fdcaf89f" providerId="ADAL" clId="{885C836A-F2B5-4589-A25B-5F2C18B5FEE6}" dt="2019-05-29T06:30:25.965" v="63" actId="6549"/>
        <pc:sldMkLst>
          <pc:docMk/>
          <pc:sldMk cId="4211422129" sldId="304"/>
        </pc:sldMkLst>
        <pc:spChg chg="mod">
          <ac:chgData name="Tembhare, Anjulata" userId="5d3e18b3-a710-4cca-99e7-6940fdcaf89f" providerId="ADAL" clId="{885C836A-F2B5-4589-A25B-5F2C18B5FEE6}" dt="2019-05-29T06:30:25.965" v="63" actId="6549"/>
          <ac:spMkLst>
            <pc:docMk/>
            <pc:sldMk cId="4211422129" sldId="304"/>
            <ac:spMk id="5" creationId="{00000000-0000-0000-0000-000000000000}"/>
          </ac:spMkLst>
        </pc:spChg>
        <pc:grpChg chg="mod">
          <ac:chgData name="Tembhare, Anjulata" userId="5d3e18b3-a710-4cca-99e7-6940fdcaf89f" providerId="ADAL" clId="{885C836A-F2B5-4589-A25B-5F2C18B5FEE6}" dt="2019-05-29T06:30:22.341" v="62" actId="1076"/>
          <ac:grpSpMkLst>
            <pc:docMk/>
            <pc:sldMk cId="4211422129" sldId="304"/>
            <ac:grpSpMk id="3" creationId="{00000000-0000-0000-0000-000000000000}"/>
          </ac:grpSpMkLst>
        </pc:grpChg>
        <pc:grpChg chg="mod">
          <ac:chgData name="Tembhare, Anjulata" userId="5d3e18b3-a710-4cca-99e7-6940fdcaf89f" providerId="ADAL" clId="{885C836A-F2B5-4589-A25B-5F2C18B5FEE6}" dt="2019-05-29T06:30:22.341" v="62" actId="1076"/>
          <ac:grpSpMkLst>
            <pc:docMk/>
            <pc:sldMk cId="4211422129" sldId="304"/>
            <ac:grpSpMk id="6" creationId="{00000000-0000-0000-0000-000000000000}"/>
          </ac:grpSpMkLst>
        </pc:grpChg>
        <pc:grpChg chg="mod">
          <ac:chgData name="Tembhare, Anjulata" userId="5d3e18b3-a710-4cca-99e7-6940fdcaf89f" providerId="ADAL" clId="{885C836A-F2B5-4589-A25B-5F2C18B5FEE6}" dt="2019-05-29T06:30:22.341" v="62" actId="1076"/>
          <ac:grpSpMkLst>
            <pc:docMk/>
            <pc:sldMk cId="4211422129" sldId="304"/>
            <ac:grpSpMk id="10" creationId="{00000000-0000-0000-0000-000000000000}"/>
          </ac:grpSpMkLst>
        </pc:grpChg>
        <pc:grpChg chg="mod">
          <ac:chgData name="Tembhare, Anjulata" userId="5d3e18b3-a710-4cca-99e7-6940fdcaf89f" providerId="ADAL" clId="{885C836A-F2B5-4589-A25B-5F2C18B5FEE6}" dt="2019-05-29T06:30:22.341" v="62" actId="1076"/>
          <ac:grpSpMkLst>
            <pc:docMk/>
            <pc:sldMk cId="4211422129" sldId="304"/>
            <ac:grpSpMk id="12" creationId="{00000000-0000-0000-0000-000000000000}"/>
          </ac:grpSpMkLst>
        </pc:grpChg>
        <pc:picChg chg="mod">
          <ac:chgData name="Tembhare, Anjulata" userId="5d3e18b3-a710-4cca-99e7-6940fdcaf89f" providerId="ADAL" clId="{885C836A-F2B5-4589-A25B-5F2C18B5FEE6}" dt="2019-05-29T06:30:15.916" v="61" actId="1076"/>
          <ac:picMkLst>
            <pc:docMk/>
            <pc:sldMk cId="4211422129" sldId="304"/>
            <ac:picMk id="9" creationId="{00000000-0000-0000-0000-000000000000}"/>
          </ac:picMkLst>
        </pc:picChg>
      </pc:sldChg>
      <pc:sldChg chg="delSp modSp add">
        <pc:chgData name="Tembhare, Anjulata" userId="5d3e18b3-a710-4cca-99e7-6940fdcaf89f" providerId="ADAL" clId="{885C836A-F2B5-4589-A25B-5F2C18B5FEE6}" dt="2019-05-29T06:44:53.942" v="208" actId="1076"/>
        <pc:sldMkLst>
          <pc:docMk/>
          <pc:sldMk cId="1727590712" sldId="553"/>
        </pc:sldMkLst>
        <pc:spChg chg="mod">
          <ac:chgData name="Tembhare, Anjulata" userId="5d3e18b3-a710-4cca-99e7-6940fdcaf89f" providerId="ADAL" clId="{885C836A-F2B5-4589-A25B-5F2C18B5FEE6}" dt="2019-05-29T06:44:53.942" v="208" actId="1076"/>
          <ac:spMkLst>
            <pc:docMk/>
            <pc:sldMk cId="1727590712" sldId="553"/>
            <ac:spMk id="5" creationId="{00000000-0000-0000-0000-000000000000}"/>
          </ac:spMkLst>
        </pc:spChg>
        <pc:spChg chg="del">
          <ac:chgData name="Tembhare, Anjulata" userId="5d3e18b3-a710-4cca-99e7-6940fdcaf89f" providerId="ADAL" clId="{885C836A-F2B5-4589-A25B-5F2C18B5FEE6}" dt="2019-05-29T06:44:31.089" v="198" actId="478"/>
          <ac:spMkLst>
            <pc:docMk/>
            <pc:sldMk cId="1727590712" sldId="553"/>
            <ac:spMk id="6" creationId="{00000000-0000-0000-0000-000000000000}"/>
          </ac:spMkLst>
        </pc:spChg>
      </pc:sldChg>
      <pc:sldMasterChg chg="delSldLayout modSldLayout">
        <pc:chgData name="Tembhare, Anjulata" userId="5d3e18b3-a710-4cca-99e7-6940fdcaf89f" providerId="ADAL" clId="{885C836A-F2B5-4589-A25B-5F2C18B5FEE6}" dt="2019-05-29T06:44:48.377" v="207" actId="2696"/>
        <pc:sldMasterMkLst>
          <pc:docMk/>
          <pc:sldMasterMk cId="499491530" sldId="2147483674"/>
        </pc:sldMasterMkLst>
        <pc:sldLayoutChg chg="del">
          <pc:chgData name="Tembhare, Anjulata" userId="5d3e18b3-a710-4cca-99e7-6940fdcaf89f" providerId="ADAL" clId="{885C836A-F2B5-4589-A25B-5F2C18B5FEE6}" dt="2019-05-29T06:44:48.377" v="207" actId="2696"/>
          <pc:sldLayoutMkLst>
            <pc:docMk/>
            <pc:sldMasterMk cId="499491530" sldId="2147483674"/>
            <pc:sldLayoutMk cId="3929253312" sldId="2147483677"/>
          </pc:sldLayoutMkLst>
        </pc:sldLayoutChg>
        <pc:sldLayoutChg chg="del">
          <pc:chgData name="Tembhare, Anjulata" userId="5d3e18b3-a710-4cca-99e7-6940fdcaf89f" providerId="ADAL" clId="{885C836A-F2B5-4589-A25B-5F2C18B5FEE6}" dt="2019-05-29T06:26:22.605" v="26" actId="2696"/>
          <pc:sldLayoutMkLst>
            <pc:docMk/>
            <pc:sldMasterMk cId="499491530" sldId="2147483674"/>
            <pc:sldLayoutMk cId="654276828" sldId="2147483685"/>
          </pc:sldLayoutMkLst>
        </pc:sldLayoutChg>
        <pc:sldLayoutChg chg="modSp">
          <pc:chgData name="Tembhare, Anjulata" userId="5d3e18b3-a710-4cca-99e7-6940fdcaf89f" providerId="ADAL" clId="{885C836A-F2B5-4589-A25B-5F2C18B5FEE6}" dt="2019-05-29T06:25:11.589" v="25" actId="6549"/>
          <pc:sldLayoutMkLst>
            <pc:docMk/>
            <pc:sldMasterMk cId="499491530" sldId="2147483674"/>
            <pc:sldLayoutMk cId="2320971079" sldId="2147483686"/>
          </pc:sldLayoutMkLst>
          <pc:spChg chg="mod">
            <ac:chgData name="Tembhare, Anjulata" userId="5d3e18b3-a710-4cca-99e7-6940fdcaf89f" providerId="ADAL" clId="{885C836A-F2B5-4589-A25B-5F2C18B5FEE6}" dt="2019-05-29T06:25:11.589" v="25" actId="6549"/>
            <ac:spMkLst>
              <pc:docMk/>
              <pc:sldMasterMk cId="499491530" sldId="2147483674"/>
              <pc:sldLayoutMk cId="2320971079" sldId="2147483686"/>
              <ac:spMk id="3" creationId="{00000000-0000-0000-0000-000000000000}"/>
            </ac:spMkLst>
          </pc:spChg>
        </pc:sldLayoutChg>
        <pc:sldLayoutChg chg="modSp">
          <pc:chgData name="Tembhare, Anjulata" userId="5d3e18b3-a710-4cca-99e7-6940fdcaf89f" providerId="ADAL" clId="{885C836A-F2B5-4589-A25B-5F2C18B5FEE6}" dt="2019-05-29T06:25:04.092" v="24"/>
          <pc:sldLayoutMkLst>
            <pc:docMk/>
            <pc:sldMasterMk cId="499491530" sldId="2147483674"/>
            <pc:sldLayoutMk cId="2207228995" sldId="2147483687"/>
          </pc:sldLayoutMkLst>
          <pc:spChg chg="mod">
            <ac:chgData name="Tembhare, Anjulata" userId="5d3e18b3-a710-4cca-99e7-6940fdcaf89f" providerId="ADAL" clId="{885C836A-F2B5-4589-A25B-5F2C18B5FEE6}" dt="2019-05-29T06:24:53.739" v="23" actId="6549"/>
            <ac:spMkLst>
              <pc:docMk/>
              <pc:sldMasterMk cId="499491530" sldId="2147483674"/>
              <pc:sldLayoutMk cId="2207228995" sldId="2147483687"/>
              <ac:spMk id="4" creationId="{00000000-0000-0000-0000-000000000000}"/>
            </ac:spMkLst>
          </pc:spChg>
          <pc:spChg chg="mod">
            <ac:chgData name="Tembhare, Anjulata" userId="5d3e18b3-a710-4cca-99e7-6940fdcaf89f" providerId="ADAL" clId="{885C836A-F2B5-4589-A25B-5F2C18B5FEE6}" dt="2019-05-29T06:25:04.092" v="24"/>
            <ac:spMkLst>
              <pc:docMk/>
              <pc:sldMasterMk cId="499491530" sldId="2147483674"/>
              <pc:sldLayoutMk cId="2207228995" sldId="2147483687"/>
              <ac:spMk id="5" creationId="{00000000-0000-0000-0000-000000000000}"/>
            </ac:spMkLst>
          </pc:spChg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E80DD6-B174-4D08-850B-03E8D99B3321}" type="datetimeFigureOut">
              <a:rPr lang="en-US" smtClean="0"/>
              <a:pPr/>
              <a:t>8/12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99AF7A4-4AA5-4F6D-90CB-430F6C9B4A7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4171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0DA0725-EC0B-47A7-9EB2-5A15415C6676}" type="slidenum">
              <a:rPr lang="en-GB" altLang="en-US">
                <a:solidFill>
                  <a:prstClr val="black"/>
                </a:solidFill>
              </a:rPr>
              <a:pPr/>
              <a:t>1</a:t>
            </a:fld>
            <a:endParaRPr lang="en-GB" altLang="en-US">
              <a:solidFill>
                <a:prstClr val="black"/>
              </a:solidFill>
            </a:endParaRPr>
          </a:p>
        </p:txBody>
      </p:sp>
      <p:sp>
        <p:nvSpPr>
          <p:cNvPr id="40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4893039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Rectangle 7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="" xmlns:a14="http://schemas.microsoft.com/office/drawing/2010/main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fld id="{9B859BF7-0452-4C20-A8D4-3B8AF8DE1D0E}" type="slidenum">
              <a:rPr lang="en-US"/>
              <a:pPr/>
              <a:t>11</a:t>
            </a:fld>
            <a:endParaRPr lang="en-US"/>
          </a:p>
        </p:txBody>
      </p:sp>
      <p:sp>
        <p:nvSpPr>
          <p:cNvPr id="686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8612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91367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Rectangle 7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="" xmlns:a14="http://schemas.microsoft.com/office/drawing/2010/main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fld id="{9E6F5F68-42EA-403E-8508-15A6F5089656}" type="slidenum">
              <a:rPr lang="en-US"/>
              <a:pPr/>
              <a:t>12</a:t>
            </a:fld>
            <a:endParaRPr lang="en-US"/>
          </a:p>
        </p:txBody>
      </p:sp>
      <p:sp>
        <p:nvSpPr>
          <p:cNvPr id="696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9636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010365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02FC5C7-1E11-4F5A-AD3F-3E41FC7AA777}" type="slidenum">
              <a:rPr lang="en-GB" altLang="en-US"/>
              <a:pPr/>
              <a:t>13</a:t>
            </a:fld>
            <a:endParaRPr lang="en-GB" altLang="en-US"/>
          </a:p>
        </p:txBody>
      </p:sp>
      <p:sp>
        <p:nvSpPr>
          <p:cNvPr id="61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14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16923672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02FC5C7-1E11-4F5A-AD3F-3E41FC7AA777}" type="slidenum">
              <a:rPr lang="en-GB" altLang="en-US"/>
              <a:pPr/>
              <a:t>14</a:t>
            </a:fld>
            <a:endParaRPr lang="en-GB" altLang="en-US"/>
          </a:p>
        </p:txBody>
      </p:sp>
      <p:sp>
        <p:nvSpPr>
          <p:cNvPr id="61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14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2096372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7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="" xmlns:a14="http://schemas.microsoft.com/office/drawing/2010/main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fld id="{6EAAD4F3-7AAB-4396-A1AA-57C00629390A}" type="slidenum">
              <a:rPr lang="en-US"/>
              <a:pPr/>
              <a:t>15</a:t>
            </a:fld>
            <a:endParaRPr lang="en-US"/>
          </a:p>
        </p:txBody>
      </p:sp>
      <p:sp>
        <p:nvSpPr>
          <p:cNvPr id="716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684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4940070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Rectangle 7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="" xmlns:a14="http://schemas.microsoft.com/office/drawing/2010/main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fld id="{1F8E3ED1-71CB-4E9F-BA81-05E95167F67C}" type="slidenum">
              <a:rPr lang="en-US"/>
              <a:pPr/>
              <a:t>16</a:t>
            </a:fld>
            <a:endParaRPr lang="en-US"/>
          </a:p>
        </p:txBody>
      </p:sp>
      <p:sp>
        <p:nvSpPr>
          <p:cNvPr id="727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2708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055190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Rectangle 7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="" xmlns:a14="http://schemas.microsoft.com/office/drawing/2010/main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fld id="{3B85C5B8-63C6-48D2-8529-E25314720FF3}" type="slidenum">
              <a:rPr lang="en-US"/>
              <a:pPr/>
              <a:t>17</a:t>
            </a:fld>
            <a:endParaRPr lang="en-US"/>
          </a:p>
        </p:txBody>
      </p:sp>
      <p:sp>
        <p:nvSpPr>
          <p:cNvPr id="737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3732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193717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Rectangle 7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="" xmlns:a14="http://schemas.microsoft.com/office/drawing/2010/main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fld id="{3B071977-8054-40A2-A4AC-395E9744E10B}" type="slidenum">
              <a:rPr lang="en-US"/>
              <a:pPr/>
              <a:t>20</a:t>
            </a:fld>
            <a:endParaRPr lang="en-US"/>
          </a:p>
        </p:txBody>
      </p:sp>
      <p:sp>
        <p:nvSpPr>
          <p:cNvPr id="747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4756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75944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EBE5CBA-7A38-48CF-9F01-17F671FC2726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151520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Rectangle 7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="" xmlns:a14="http://schemas.microsoft.com/office/drawing/2010/main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fld id="{718E1988-5B5A-4165-8E66-9F8E9C40E72C}" type="slidenum">
              <a:rPr lang="en-US"/>
              <a:pPr/>
              <a:t>22</a:t>
            </a:fld>
            <a:endParaRPr lang="en-US"/>
          </a:p>
        </p:txBody>
      </p:sp>
      <p:sp>
        <p:nvSpPr>
          <p:cNvPr id="757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5780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00168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EBE5CBA-7A38-48CF-9F01-17F671FC2726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151520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Rectangle 7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="" xmlns:a14="http://schemas.microsoft.com/office/drawing/2010/main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fld id="{F932B544-81F9-429A-A587-077BBB6A873A}" type="slidenum">
              <a:rPr lang="en-US"/>
              <a:pPr/>
              <a:t>23</a:t>
            </a:fld>
            <a:endParaRPr lang="en-US"/>
          </a:p>
        </p:txBody>
      </p:sp>
      <p:sp>
        <p:nvSpPr>
          <p:cNvPr id="768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6804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800971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7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="" xmlns:a14="http://schemas.microsoft.com/office/drawing/2010/main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fld id="{8D5B9B84-515F-401A-8417-B11988C7CE8D}" type="slidenum">
              <a:rPr lang="en-US"/>
              <a:pPr/>
              <a:t>24</a:t>
            </a:fld>
            <a:endParaRPr lang="en-US"/>
          </a:p>
        </p:txBody>
      </p:sp>
      <p:sp>
        <p:nvSpPr>
          <p:cNvPr id="778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7828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672979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Rectangle 7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="" xmlns:a14="http://schemas.microsoft.com/office/drawing/2010/main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fld id="{3C9809C8-80E4-4551-9654-F5909DABE6DC}" type="slidenum">
              <a:rPr lang="en-US"/>
              <a:pPr/>
              <a:t>25</a:t>
            </a:fld>
            <a:endParaRPr lang="en-US"/>
          </a:p>
        </p:txBody>
      </p:sp>
      <p:sp>
        <p:nvSpPr>
          <p:cNvPr id="788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8852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5485124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Rectangle 7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="" xmlns:a14="http://schemas.microsoft.com/office/drawing/2010/main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fld id="{4412F6E9-AF36-48A7-B5D0-2B4035614EAE}" type="slidenum">
              <a:rPr lang="en-US"/>
              <a:pPr/>
              <a:t>26</a:t>
            </a:fld>
            <a:endParaRPr lang="en-US"/>
          </a:p>
        </p:txBody>
      </p:sp>
      <p:sp>
        <p:nvSpPr>
          <p:cNvPr id="798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9876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858549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Rectangle 7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="" xmlns:a14="http://schemas.microsoft.com/office/drawing/2010/main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fld id="{FFE9E42A-CC30-422E-B317-1CE06C0B65CA}" type="slidenum">
              <a:rPr lang="en-US"/>
              <a:pPr/>
              <a:t>27</a:t>
            </a:fld>
            <a:endParaRPr lang="en-US"/>
          </a:p>
        </p:txBody>
      </p:sp>
      <p:sp>
        <p:nvSpPr>
          <p:cNvPr id="808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0900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5907825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Rectangle 7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="" xmlns:a14="http://schemas.microsoft.com/office/drawing/2010/main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fld id="{227A5638-D330-4620-8C8F-C7C124CC7DC4}" type="slidenum">
              <a:rPr lang="en-US"/>
              <a:pPr/>
              <a:t>28</a:t>
            </a:fld>
            <a:endParaRPr lang="en-US"/>
          </a:p>
        </p:txBody>
      </p:sp>
      <p:sp>
        <p:nvSpPr>
          <p:cNvPr id="819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1924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244469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6" name="Rectangle 7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="" xmlns:a14="http://schemas.microsoft.com/office/drawing/2010/main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fld id="{F961B18E-4228-42F7-9110-F9D2B74573A1}" type="slidenum">
              <a:rPr lang="en-US"/>
              <a:pPr/>
              <a:t>29</a:t>
            </a:fld>
            <a:endParaRPr lang="en-US"/>
          </a:p>
        </p:txBody>
      </p:sp>
      <p:sp>
        <p:nvSpPr>
          <p:cNvPr id="829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2948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969007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0" name="Rectangle 7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="" xmlns:a14="http://schemas.microsoft.com/office/drawing/2010/main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fld id="{6B52C7F4-5F57-4E25-830E-EEE179617EF4}" type="slidenum">
              <a:rPr lang="en-US"/>
              <a:pPr/>
              <a:t>30</a:t>
            </a:fld>
            <a:endParaRPr lang="en-US"/>
          </a:p>
        </p:txBody>
      </p:sp>
      <p:sp>
        <p:nvSpPr>
          <p:cNvPr id="839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3972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039915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8" name="Rectangle 7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="" xmlns:a14="http://schemas.microsoft.com/office/drawing/2010/main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fld id="{1332C3BA-A17D-4C97-8D6E-41AE25F2EBDF}" type="slidenum">
              <a:rPr lang="en-US"/>
              <a:pPr/>
              <a:t>32</a:t>
            </a:fld>
            <a:endParaRPr lang="en-US"/>
          </a:p>
        </p:txBody>
      </p:sp>
      <p:sp>
        <p:nvSpPr>
          <p:cNvPr id="860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6020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737978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Rectangle 7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="" xmlns:a14="http://schemas.microsoft.com/office/drawing/2010/main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fld id="{5D2430BE-4DC2-48EC-B6AF-5F0C0DFEA195}" type="slidenum">
              <a:rPr lang="en-US"/>
              <a:pPr/>
              <a:t>36</a:t>
            </a:fld>
            <a:endParaRPr lang="en-US"/>
          </a:p>
        </p:txBody>
      </p:sp>
      <p:sp>
        <p:nvSpPr>
          <p:cNvPr id="911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91140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 w="2540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900226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EBE5CBA-7A38-48CF-9F01-17F671FC2726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151520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EBE5CBA-7A38-48CF-9F01-17F671FC2726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151520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6B589C4-D67A-414A-9D18-5528393C3548}" type="slidenum">
              <a:rPr lang="en-US" smtClean="0"/>
              <a:pPr>
                <a:defRPr/>
              </a:pPr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284339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EBE5CBA-7A38-48CF-9F01-17F671FC2726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13786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02FC5C7-1E11-4F5A-AD3F-3E41FC7AA777}" type="slidenum">
              <a:rPr lang="en-GB" altLang="en-US"/>
              <a:pPr/>
              <a:t>4</a:t>
            </a:fld>
            <a:endParaRPr lang="en-GB" altLang="en-US"/>
          </a:p>
        </p:txBody>
      </p:sp>
      <p:sp>
        <p:nvSpPr>
          <p:cNvPr id="61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14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735618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Rectangle 7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="" xmlns:a14="http://schemas.microsoft.com/office/drawing/2010/main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fld id="{FF37552C-7806-496F-AC5D-43A2879988FC}" type="slidenum">
              <a:rPr lang="en-US"/>
              <a:pPr/>
              <a:t>5</a:t>
            </a:fld>
            <a:endParaRPr lang="en-US"/>
          </a:p>
        </p:txBody>
      </p:sp>
      <p:sp>
        <p:nvSpPr>
          <p:cNvPr id="58371" name="Rectangle 1026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8372" name="Rectangle 102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28219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7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="" xmlns:a14="http://schemas.microsoft.com/office/drawing/2010/main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fld id="{54EC774C-C7E4-4E2A-A345-CD800AC03A51}" type="slidenum">
              <a:rPr lang="en-US"/>
              <a:pPr/>
              <a:t>6</a:t>
            </a:fld>
            <a:endParaRPr lang="en-US"/>
          </a:p>
        </p:txBody>
      </p:sp>
      <p:sp>
        <p:nvSpPr>
          <p:cNvPr id="60419" name="Rectangle 1026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0420" name="Rectangle 102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34489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02FC5C7-1E11-4F5A-AD3F-3E41FC7AA777}" type="slidenum">
              <a:rPr lang="en-GB" altLang="en-US"/>
              <a:pPr/>
              <a:t>8</a:t>
            </a:fld>
            <a:endParaRPr lang="en-GB" altLang="en-US"/>
          </a:p>
        </p:txBody>
      </p:sp>
      <p:sp>
        <p:nvSpPr>
          <p:cNvPr id="61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14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1680809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02FC5C7-1E11-4F5A-AD3F-3E41FC7AA777}" type="slidenum">
              <a:rPr lang="en-GB" altLang="en-US"/>
              <a:pPr/>
              <a:t>9</a:t>
            </a:fld>
            <a:endParaRPr lang="en-GB" altLang="en-US"/>
          </a:p>
        </p:txBody>
      </p:sp>
      <p:sp>
        <p:nvSpPr>
          <p:cNvPr id="61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14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7369166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="" xmlns:a14="http://schemas.microsoft.com/office/drawing/2010/main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fld id="{C90067F5-D5C7-481C-8A56-BB2A3D397E59}" type="slidenum">
              <a:rPr lang="en-US"/>
              <a:pPr/>
              <a:t>10</a:t>
            </a:fld>
            <a:endParaRPr lang="en-US"/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6564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25018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apgemini.com/optimize-your-business-and-it-operations" TargetMode="External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hyperlink" Target="https://www.capgemini.com/optimize-your-business-and-it-operations" TargetMode="Externa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:a16="http://schemas.microsoft.com/office/drawing/2014/main" xmlns="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:a16="http://schemas.microsoft.com/office/drawing/2014/main" xmlns="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543134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3" pos="721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09710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72289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5017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34"/>
          <p:cNvSpPr>
            <a:spLocks noGrp="1" noChangeArrowheads="1"/>
          </p:cNvSpPr>
          <p:nvPr>
            <p:ph type="title"/>
          </p:nvPr>
        </p:nvSpPr>
        <p:spPr bwMode="auto">
          <a:xfrm>
            <a:off x="241300" y="212726"/>
            <a:ext cx="8714232" cy="549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6366742"/>
      </p:ext>
    </p:extLst>
  </p:cSld>
  <p:clrMapOvr>
    <a:masterClrMapping/>
  </p:clrMapOvr>
  <p:transition>
    <p:wipe dir="r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2386607" y="2358500"/>
            <a:ext cx="2183907" cy="2155793"/>
          </a:xfrm>
          <a:prstGeom prst="rect">
            <a:avLst/>
          </a:prstGeom>
          <a:solidFill>
            <a:srgbClr val="CC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4721486" y="3197454"/>
            <a:ext cx="3431914" cy="5740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600"/>
              </a:lnSpc>
            </a:pPr>
            <a:r>
              <a:rPr lang="en-US" sz="4000" dirty="0">
                <a:solidFill>
                  <a:schemeClr val="accent6">
                    <a:lumMod val="50000"/>
                  </a:schemeClr>
                </a:solidFill>
              </a:rPr>
              <a:t>Thank</a:t>
            </a:r>
            <a:r>
              <a:rPr lang="en-US" sz="4000" dirty="0">
                <a:solidFill>
                  <a:schemeClr val="accent6">
                    <a:lumMod val="75000"/>
                  </a:schemeClr>
                </a:solidFill>
              </a:rPr>
              <a:t> You</a:t>
            </a:r>
          </a:p>
        </p:txBody>
      </p:sp>
      <p:sp>
        <p:nvSpPr>
          <p:cNvPr id="8" name="TextBox 7"/>
          <p:cNvSpPr txBox="1"/>
          <p:nvPr userDrawn="1"/>
        </p:nvSpPr>
        <p:spPr>
          <a:xfrm rot="5400000">
            <a:off x="3304320" y="3153452"/>
            <a:ext cx="495649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0" dirty="0">
                <a:solidFill>
                  <a:schemeClr val="bg1"/>
                </a:solidFill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97404312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with Filled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3329862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4" name="Picture Placeholder 10">
            <a:extLst>
              <a:ext uri="{FF2B5EF4-FFF2-40B4-BE49-F238E27FC236}">
                <a16:creationId xmlns:a16="http://schemas.microsoft.com/office/drawing/2014/main" xmlns="" id="{709E13E3-3323-4A67-80E2-F9198122983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9" r="32420"/>
          <a:stretch/>
        </p:blipFill>
        <p:spPr>
          <a:xfrm>
            <a:off x="3190342" y="-2148"/>
            <a:ext cx="5953658" cy="6898276"/>
          </a:xfrm>
          <a:prstGeom prst="rect">
            <a:avLst/>
          </a:prstGeo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5991" y="3068960"/>
            <a:ext cx="5022093" cy="337538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500"/>
              </a:lnSpc>
              <a:spcAft>
                <a:spcPts val="1350"/>
              </a:spcAft>
              <a:defRPr sz="12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long text</a:t>
            </a:r>
            <a:endParaRPr lang="pt-PT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57798370-07F4-412F-86CE-30C026EA6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92" y="2002973"/>
            <a:ext cx="7533476" cy="859536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pt-PT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ts val="2250"/>
              </a:lnSpc>
            </a:pPr>
            <a:r>
              <a:rPr lang="en-US" dirty="0"/>
              <a:t>Click to insert title</a:t>
            </a:r>
            <a:endParaRPr lang="pt-PT" dirty="0"/>
          </a:p>
        </p:txBody>
      </p:sp>
      <p:sp>
        <p:nvSpPr>
          <p:cNvPr id="6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schemeClr val="bg1"/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7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 userDrawn="1"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1"/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cxnSp>
        <p:nvCxnSpPr>
          <p:cNvPr id="9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27">
            <a:hlinkClick r:id="rId3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 userDrawn="1"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</p:spTree>
    <p:extLst>
      <p:ext uri="{BB962C8B-B14F-4D97-AF65-F5344CB8AC3E}">
        <p14:creationId xmlns:p14="http://schemas.microsoft.com/office/powerpoint/2010/main" val="14167183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55">
          <p15:clr>
            <a:srgbClr val="FBAE40"/>
          </p15:clr>
        </p15:guide>
        <p15:guide id="2" pos="257">
          <p15:clr>
            <a:srgbClr val="FBAE40"/>
          </p15:clr>
        </p15:guide>
        <p15:guide id="3" pos="687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Open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xmlns="" id="{BED4D731-14A5-4158-B245-8DDD87FF6DE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l="10880" b="21349"/>
          <a:stretch/>
        </p:blipFill>
        <p:spPr>
          <a:xfrm flipH="1">
            <a:off x="3676014" y="838200"/>
            <a:ext cx="5467986" cy="6019801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:a16="http://schemas.microsoft.com/office/drawing/2014/main" xmlns="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4078" y="2946391"/>
            <a:ext cx="3563932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bg1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6" name="Picture Placeholder 4">
            <a:extLst>
              <a:ext uri="{FF2B5EF4-FFF2-40B4-BE49-F238E27FC236}">
                <a16:creationId xmlns:a16="http://schemas.microsoft.com/office/drawing/2014/main" xmlns="" id="{F75B031B-5C69-4C3C-AB8F-4121747DCE2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8" r="22708"/>
          <a:stretch/>
        </p:blipFill>
        <p:spPr>
          <a:xfrm flipH="1">
            <a:off x="0" y="-1588"/>
            <a:ext cx="4991100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2045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547344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898950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812276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084857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808350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9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1324917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xmlns="" id="{8567D75B-5423-48DB-8633-03391840D1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800601" y="1"/>
            <a:ext cx="4343399" cy="5902959"/>
          </a:xfrm>
          <a:prstGeom prst="rect">
            <a:avLst/>
          </a:prstGeom>
        </p:spPr>
      </p:pic>
      <p:sp>
        <p:nvSpPr>
          <p:cNvPr id="9" name="Picture Placeholder 17">
            <a:extLst>
              <a:ext uri="{FF2B5EF4-FFF2-40B4-BE49-F238E27FC236}">
                <a16:creationId xmlns:a16="http://schemas.microsoft.com/office/drawing/2014/main" xmlns="" id="{367AB1B6-26E9-4FAE-989E-AB1A5DFB196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13515" y="-1"/>
            <a:ext cx="4430485" cy="6857998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91" y="404813"/>
            <a:ext cx="8262453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225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3194" y="1430234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13194" y="3253616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3194" y="5076998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7">
            <a:hlinkClick r:id="rId4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2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pic>
        <p:nvPicPr>
          <p:cNvPr id="23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41265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8595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xmlns="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412876"/>
            <a:ext cx="8528209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17">
            <a:extLst>
              <a:ext uri="{96DAC541-7B7A-43D3-8B79-37D633B846F1}">
                <asvg:svgBlip xmlns:asvg="http://schemas.microsoft.com/office/drawing/2016/SVG/main" xmlns="" r:embed="rId18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94915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</p:sldLayoutIdLs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0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ts val="165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ts val="135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ts val="12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ts val="105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3" pos="7423">
          <p15:clr>
            <a:srgbClr val="F26B43"/>
          </p15:clr>
        </p15:guide>
        <p15:guide id="4" pos="257">
          <p15:clr>
            <a:srgbClr val="F26B43"/>
          </p15:clr>
        </p15:guide>
        <p15:guide id="5" orient="horz" pos="4065">
          <p15:clr>
            <a:srgbClr val="F26B43"/>
          </p15:clr>
        </p15:guide>
        <p15:guide id="6" orient="horz" pos="799">
          <p15:clr>
            <a:srgbClr val="F26B43"/>
          </p15:clr>
        </p15:guide>
        <p15:guide id="7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w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29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3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10" Type="http://schemas.openxmlformats.org/officeDocument/2006/relationships/image" Target="../media/image32.png"/><Relationship Id="rId4" Type="http://schemas.openxmlformats.org/officeDocument/2006/relationships/image" Target="../media/image26.png"/><Relationship Id="rId9" Type="http://schemas.openxmlformats.org/officeDocument/2006/relationships/image" Target="../media/image3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4.xml"/><Relationship Id="rId4" Type="http://schemas.openxmlformats.org/officeDocument/2006/relationships/image" Target="../media/image3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Relationship Id="rId9" Type="http://schemas.openxmlformats.org/officeDocument/2006/relationships/image" Target="../media/image16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25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4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wmf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9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wmf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41.wmf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42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4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1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1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4" Type="http://schemas.openxmlformats.org/officeDocument/2006/relationships/image" Target="../media/image18.pn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0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0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13" Type="http://schemas.openxmlformats.org/officeDocument/2006/relationships/image" Target="../media/image60.png"/><Relationship Id="rId18" Type="http://schemas.openxmlformats.org/officeDocument/2006/relationships/image" Target="../media/image14.png"/><Relationship Id="rId3" Type="http://schemas.openxmlformats.org/officeDocument/2006/relationships/image" Target="../media/image50.png"/><Relationship Id="rId21" Type="http://schemas.openxmlformats.org/officeDocument/2006/relationships/image" Target="../media/image62.png"/><Relationship Id="rId7" Type="http://schemas.openxmlformats.org/officeDocument/2006/relationships/image" Target="../media/image54.png"/><Relationship Id="rId12" Type="http://schemas.openxmlformats.org/officeDocument/2006/relationships/image" Target="../media/image59.png"/><Relationship Id="rId17" Type="http://schemas.openxmlformats.org/officeDocument/2006/relationships/image" Target="../media/image13.png"/><Relationship Id="rId2" Type="http://schemas.openxmlformats.org/officeDocument/2006/relationships/notesSlide" Target="../notesSlides/notesSlide31.xml"/><Relationship Id="rId16" Type="http://schemas.openxmlformats.org/officeDocument/2006/relationships/image" Target="../media/image12.png"/><Relationship Id="rId20" Type="http://schemas.openxmlformats.org/officeDocument/2006/relationships/image" Target="../media/image15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3.png"/><Relationship Id="rId11" Type="http://schemas.openxmlformats.org/officeDocument/2006/relationships/image" Target="../media/image58.png"/><Relationship Id="rId5" Type="http://schemas.openxmlformats.org/officeDocument/2006/relationships/image" Target="../media/image52.png"/><Relationship Id="rId15" Type="http://schemas.openxmlformats.org/officeDocument/2006/relationships/image" Target="../media/image11.png"/><Relationship Id="rId10" Type="http://schemas.openxmlformats.org/officeDocument/2006/relationships/image" Target="../media/image57.png"/><Relationship Id="rId19" Type="http://schemas.openxmlformats.org/officeDocument/2006/relationships/image" Target="../media/image61.png"/><Relationship Id="rId4" Type="http://schemas.openxmlformats.org/officeDocument/2006/relationships/image" Target="../media/image51.png"/><Relationship Id="rId9" Type="http://schemas.openxmlformats.org/officeDocument/2006/relationships/image" Target="../media/image56.png"/><Relationship Id="rId14" Type="http://schemas.openxmlformats.org/officeDocument/2006/relationships/image" Target="../media/image10.png"/><Relationship Id="rId22" Type="http://schemas.openxmlformats.org/officeDocument/2006/relationships/image" Target="../media/image16.jpeg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jpeg"/><Relationship Id="rId13" Type="http://schemas.openxmlformats.org/officeDocument/2006/relationships/image" Target="../media/image74.png"/><Relationship Id="rId18" Type="http://schemas.openxmlformats.org/officeDocument/2006/relationships/image" Target="../media/image79.jpeg"/><Relationship Id="rId3" Type="http://schemas.openxmlformats.org/officeDocument/2006/relationships/image" Target="../media/image64.png"/><Relationship Id="rId21" Type="http://schemas.openxmlformats.org/officeDocument/2006/relationships/image" Target="../media/image82.jpeg"/><Relationship Id="rId7" Type="http://schemas.openxmlformats.org/officeDocument/2006/relationships/image" Target="../media/image68.gif"/><Relationship Id="rId12" Type="http://schemas.openxmlformats.org/officeDocument/2006/relationships/image" Target="../media/image73.png"/><Relationship Id="rId17" Type="http://schemas.openxmlformats.org/officeDocument/2006/relationships/image" Target="../media/image78.png"/><Relationship Id="rId2" Type="http://schemas.openxmlformats.org/officeDocument/2006/relationships/image" Target="../media/image63.png"/><Relationship Id="rId16" Type="http://schemas.openxmlformats.org/officeDocument/2006/relationships/image" Target="../media/image77.png"/><Relationship Id="rId20" Type="http://schemas.openxmlformats.org/officeDocument/2006/relationships/image" Target="../media/image81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67.jpeg"/><Relationship Id="rId11" Type="http://schemas.openxmlformats.org/officeDocument/2006/relationships/image" Target="../media/image72.jpeg"/><Relationship Id="rId5" Type="http://schemas.openxmlformats.org/officeDocument/2006/relationships/image" Target="../media/image66.png"/><Relationship Id="rId15" Type="http://schemas.openxmlformats.org/officeDocument/2006/relationships/image" Target="../media/image76.png"/><Relationship Id="rId10" Type="http://schemas.openxmlformats.org/officeDocument/2006/relationships/image" Target="../media/image71.png"/><Relationship Id="rId19" Type="http://schemas.openxmlformats.org/officeDocument/2006/relationships/image" Target="../media/image80.png"/><Relationship Id="rId4" Type="http://schemas.openxmlformats.org/officeDocument/2006/relationships/image" Target="../media/image65.jpeg"/><Relationship Id="rId9" Type="http://schemas.openxmlformats.org/officeDocument/2006/relationships/image" Target="../media/image70.png"/><Relationship Id="rId14" Type="http://schemas.openxmlformats.org/officeDocument/2006/relationships/image" Target="../media/image75.jpeg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3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2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w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36" name="PresentationTitle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>
          <a:xfrm>
            <a:off x="305991" y="3068961"/>
            <a:ext cx="4570809" cy="720725"/>
          </a:xfrm>
        </p:spPr>
        <p:txBody>
          <a:bodyPr/>
          <a:lstStyle/>
          <a:p>
            <a:r>
              <a:rPr lang="en-GB" altLang="en-US" sz="2400" dirty="0"/>
              <a:t>Introduction to Agile - Scrum</a:t>
            </a:r>
            <a:r>
              <a:rPr lang="en-GB" altLang="en-US" sz="2000" dirty="0"/>
              <a:t/>
            </a:r>
            <a:br>
              <a:rPr lang="en-GB" altLang="en-US" sz="2000" dirty="0"/>
            </a:br>
            <a:endParaRPr lang="en-GB" altLang="en-US" sz="2000" dirty="0">
              <a:solidFill>
                <a:schemeClr val="accent2"/>
              </a:solidFill>
            </a:endParaRPr>
          </a:p>
        </p:txBody>
      </p:sp>
    </p:spTree>
    <p:custDataLst>
      <p:tags r:id="rId1"/>
    </p:custData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1"/>
          <p:cNvSpPr>
            <a:spLocks noGrp="1" noChangeArrowheads="1"/>
          </p:cNvSpPr>
          <p:nvPr>
            <p:ph type="title"/>
          </p:nvPr>
        </p:nvSpPr>
        <p:spPr>
          <a:xfrm>
            <a:off x="308610" y="251460"/>
            <a:ext cx="8515350" cy="1577340"/>
          </a:xfrm>
        </p:spPr>
        <p:txBody>
          <a:bodyPr anchor="t">
            <a:normAutofit/>
          </a:bodyPr>
          <a:lstStyle/>
          <a:p>
            <a:pPr eaLnBrk="1" hangingPunct="1">
              <a:lnSpc>
                <a:spcPct val="70000"/>
              </a:lnSpc>
              <a:defRPr/>
            </a:pPr>
            <a:r>
              <a:rPr lang="en-US" sz="2800" dirty="0">
                <a:sym typeface="Gill Sans" charset="0"/>
              </a:rPr>
              <a:t>Sequential vs. overlapping development</a:t>
            </a:r>
          </a:p>
        </p:txBody>
      </p:sp>
      <p:pic>
        <p:nvPicPr>
          <p:cNvPr id="3277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840230" y="4949190"/>
            <a:ext cx="5629275" cy="8972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771" name="Line 3"/>
          <p:cNvSpPr>
            <a:spLocks noChangeShapeType="1"/>
          </p:cNvSpPr>
          <p:nvPr/>
        </p:nvSpPr>
        <p:spPr bwMode="auto">
          <a:xfrm>
            <a:off x="1371600" y="2571750"/>
            <a:ext cx="6583680" cy="0"/>
          </a:xfrm>
          <a:prstGeom prst="line">
            <a:avLst/>
          </a:prstGeom>
          <a:noFill/>
          <a:ln w="63500">
            <a:solidFill>
              <a:schemeClr val="tx1"/>
            </a:solidFill>
            <a:round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32772" name="Line 4"/>
          <p:cNvSpPr>
            <a:spLocks noChangeShapeType="1"/>
          </p:cNvSpPr>
          <p:nvPr/>
        </p:nvSpPr>
        <p:spPr bwMode="auto">
          <a:xfrm>
            <a:off x="1394460" y="5795010"/>
            <a:ext cx="6583680" cy="0"/>
          </a:xfrm>
          <a:prstGeom prst="line">
            <a:avLst/>
          </a:prstGeom>
          <a:noFill/>
          <a:ln w="63500">
            <a:solidFill>
              <a:schemeClr val="tx1"/>
            </a:solidFill>
            <a:round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32773" name="Rectangle 5"/>
          <p:cNvSpPr>
            <a:spLocks/>
          </p:cNvSpPr>
          <p:nvPr/>
        </p:nvSpPr>
        <p:spPr bwMode="auto">
          <a:xfrm>
            <a:off x="858679" y="6109335"/>
            <a:ext cx="4537710" cy="445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l"/>
            <a:r>
              <a:rPr lang="en-US" sz="1300" dirty="0"/>
              <a:t>Source: </a:t>
            </a:r>
            <a:r>
              <a:rPr lang="ja-JP" altLang="en-US" sz="1300"/>
              <a:t>“</a:t>
            </a:r>
            <a:r>
              <a:rPr lang="en-US" altLang="ja-JP" sz="1300" dirty="0"/>
              <a:t>The New </a:t>
            </a:r>
            <a:r>
              <a:rPr lang="en-US" altLang="ja-JP" sz="1300" dirty="0" err="1"/>
              <a:t>New</a:t>
            </a:r>
            <a:r>
              <a:rPr lang="en-US" altLang="ja-JP" sz="1300" dirty="0"/>
              <a:t> Product Development Game</a:t>
            </a:r>
            <a:r>
              <a:rPr lang="ja-JP" altLang="en-US" sz="1300"/>
              <a:t>”</a:t>
            </a:r>
            <a:r>
              <a:rPr lang="en-US" altLang="ja-JP" sz="1300" dirty="0"/>
              <a:t> by Takeuchi and </a:t>
            </a:r>
            <a:r>
              <a:rPr lang="en-US" altLang="ja-JP" sz="1300" dirty="0" err="1"/>
              <a:t>Nonaka</a:t>
            </a:r>
            <a:r>
              <a:rPr lang="en-US" altLang="ja-JP" sz="1300" dirty="0"/>
              <a:t>. </a:t>
            </a:r>
            <a:r>
              <a:rPr lang="en-US" altLang="ja-JP" sz="1300" i="1" dirty="0"/>
              <a:t>Harvard Business Review,</a:t>
            </a:r>
            <a:r>
              <a:rPr lang="en-US" altLang="ja-JP" sz="1300" dirty="0"/>
              <a:t> January 1986.</a:t>
            </a:r>
            <a:endParaRPr lang="en-US" sz="1300" dirty="0"/>
          </a:p>
        </p:txBody>
      </p:sp>
      <p:sp>
        <p:nvSpPr>
          <p:cNvPr id="19462" name="AutoShape 6"/>
          <p:cNvSpPr>
            <a:spLocks/>
          </p:cNvSpPr>
          <p:nvPr/>
        </p:nvSpPr>
        <p:spPr bwMode="auto">
          <a:xfrm>
            <a:off x="762000" y="2846069"/>
            <a:ext cx="4130040" cy="1394451"/>
          </a:xfrm>
          <a:prstGeom prst="roundRect">
            <a:avLst>
              <a:gd name="adj" fmla="val 24741"/>
            </a:avLst>
          </a:prstGeom>
          <a:blipFill dpi="0" rotWithShape="0">
            <a:blip r:embed="rId4" cstate="print"/>
            <a:srcRect/>
            <a:tile tx="0" ty="0" sx="100000" sy="100000" flip="none" algn="tl"/>
          </a:blipFill>
          <a:ln w="25400">
            <a:solidFill>
              <a:srgbClr val="003C83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82296" tIns="41148" rIns="82296" bIns="41148"/>
          <a:lstStyle/>
          <a:p>
            <a:pPr>
              <a:defRPr/>
            </a:pPr>
            <a:endParaRPr lang="en-US">
              <a:latin typeface="Gill Sans" pitchFamily="80" charset="0"/>
              <a:ea typeface="ヒラギノ角ゴ Pro W3" pitchFamily="80" charset="-128"/>
              <a:sym typeface="Gill Sans" pitchFamily="80" charset="0"/>
            </a:endParaRPr>
          </a:p>
        </p:txBody>
      </p:sp>
      <p:sp>
        <p:nvSpPr>
          <p:cNvPr id="19463" name="AutoShape 7"/>
          <p:cNvSpPr>
            <a:spLocks/>
          </p:cNvSpPr>
          <p:nvPr/>
        </p:nvSpPr>
        <p:spPr bwMode="auto">
          <a:xfrm>
            <a:off x="4503420" y="3669029"/>
            <a:ext cx="3726180" cy="1417305"/>
          </a:xfrm>
          <a:prstGeom prst="roundRect">
            <a:avLst>
              <a:gd name="adj" fmla="val 24741"/>
            </a:avLst>
          </a:prstGeom>
          <a:blipFill dpi="0" rotWithShape="0">
            <a:blip r:embed="rId5" cstate="print"/>
            <a:srcRect/>
            <a:tile tx="0" ty="0" sx="100000" sy="100000" flip="none" algn="tl"/>
          </a:blipFill>
          <a:ln w="25400">
            <a:solidFill>
              <a:srgbClr val="00531C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82296" tIns="41148" rIns="82296" bIns="41148"/>
          <a:lstStyle/>
          <a:p>
            <a:pPr>
              <a:defRPr/>
            </a:pPr>
            <a:endParaRPr lang="en-US">
              <a:latin typeface="Gill Sans" pitchFamily="80" charset="0"/>
              <a:ea typeface="ヒラギノ角ゴ Pro W3" pitchFamily="80" charset="-128"/>
              <a:sym typeface="Gill Sans" pitchFamily="80" charset="0"/>
            </a:endParaRPr>
          </a:p>
        </p:txBody>
      </p:sp>
      <p:sp>
        <p:nvSpPr>
          <p:cNvPr id="32776" name="Rectangle 8"/>
          <p:cNvSpPr>
            <a:spLocks/>
          </p:cNvSpPr>
          <p:nvPr/>
        </p:nvSpPr>
        <p:spPr bwMode="auto">
          <a:xfrm>
            <a:off x="1280160" y="2960370"/>
            <a:ext cx="3486150" cy="8915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720" tIns="45720" rIns="45720" bIns="45720"/>
          <a:lstStyle/>
          <a:p>
            <a:pPr>
              <a:tabLst>
                <a:tab pos="960120" algn="l"/>
              </a:tabLst>
            </a:pPr>
            <a:r>
              <a:rPr lang="en-US" sz="2700" dirty="0">
                <a:solidFill>
                  <a:srgbClr val="FFFFFF"/>
                </a:solidFill>
              </a:rPr>
              <a:t>Rather than doing all of one thing at a time...</a:t>
            </a:r>
          </a:p>
        </p:txBody>
      </p:sp>
      <p:sp>
        <p:nvSpPr>
          <p:cNvPr id="32777" name="Rectangle 9"/>
          <p:cNvSpPr>
            <a:spLocks/>
          </p:cNvSpPr>
          <p:nvPr/>
        </p:nvSpPr>
        <p:spPr bwMode="auto">
          <a:xfrm>
            <a:off x="4549140" y="3783330"/>
            <a:ext cx="3623310" cy="8915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720" tIns="45720" rIns="45720" bIns="45720"/>
          <a:lstStyle/>
          <a:p>
            <a:pPr>
              <a:tabLst>
                <a:tab pos="960120" algn="l"/>
              </a:tabLst>
            </a:pPr>
            <a:r>
              <a:rPr lang="en-US" sz="2700" dirty="0">
                <a:solidFill>
                  <a:srgbClr val="FFFFFF"/>
                </a:solidFill>
              </a:rPr>
              <a:t>...Scrum teams do a little of everything all the time</a:t>
            </a:r>
          </a:p>
        </p:txBody>
      </p:sp>
      <p:sp>
        <p:nvSpPr>
          <p:cNvPr id="32778" name="Rectangle 10"/>
          <p:cNvSpPr>
            <a:spLocks/>
          </p:cNvSpPr>
          <p:nvPr/>
        </p:nvSpPr>
        <p:spPr bwMode="auto">
          <a:xfrm>
            <a:off x="514350" y="1760220"/>
            <a:ext cx="2114550" cy="537210"/>
          </a:xfrm>
          <a:prstGeom prst="rect">
            <a:avLst/>
          </a:prstGeom>
          <a:solidFill>
            <a:schemeClr val="accent1"/>
          </a:solidFill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300" dirty="0">
                <a:solidFill>
                  <a:srgbClr val="FFFFFF"/>
                </a:solidFill>
              </a:rPr>
              <a:t>Requirements</a:t>
            </a:r>
          </a:p>
        </p:txBody>
      </p:sp>
      <p:sp>
        <p:nvSpPr>
          <p:cNvPr id="32779" name="Rectangle 11"/>
          <p:cNvSpPr>
            <a:spLocks/>
          </p:cNvSpPr>
          <p:nvPr/>
        </p:nvSpPr>
        <p:spPr bwMode="auto">
          <a:xfrm>
            <a:off x="2800350" y="1760220"/>
            <a:ext cx="1771650" cy="537210"/>
          </a:xfrm>
          <a:prstGeom prst="rect">
            <a:avLst/>
          </a:prstGeom>
          <a:solidFill>
            <a:srgbClr val="01FF01"/>
          </a:solidFill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300" dirty="0">
                <a:solidFill>
                  <a:srgbClr val="FFFFFF"/>
                </a:solidFill>
              </a:rPr>
              <a:t>Design</a:t>
            </a:r>
          </a:p>
        </p:txBody>
      </p:sp>
      <p:sp>
        <p:nvSpPr>
          <p:cNvPr id="32780" name="Rectangle 12"/>
          <p:cNvSpPr>
            <a:spLocks/>
          </p:cNvSpPr>
          <p:nvPr/>
        </p:nvSpPr>
        <p:spPr bwMode="auto">
          <a:xfrm>
            <a:off x="4743450" y="1760220"/>
            <a:ext cx="1771650" cy="537210"/>
          </a:xfrm>
          <a:prstGeom prst="rect">
            <a:avLst/>
          </a:prstGeom>
          <a:solidFill>
            <a:srgbClr val="00CCFF"/>
          </a:solidFill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300" dirty="0">
                <a:solidFill>
                  <a:srgbClr val="FFFFFF"/>
                </a:solidFill>
              </a:rPr>
              <a:t>Code</a:t>
            </a:r>
          </a:p>
        </p:txBody>
      </p:sp>
      <p:sp>
        <p:nvSpPr>
          <p:cNvPr id="32781" name="Rectangle 13"/>
          <p:cNvSpPr>
            <a:spLocks/>
          </p:cNvSpPr>
          <p:nvPr/>
        </p:nvSpPr>
        <p:spPr bwMode="auto">
          <a:xfrm>
            <a:off x="6686550" y="1760220"/>
            <a:ext cx="1771650" cy="537210"/>
          </a:xfrm>
          <a:prstGeom prst="rect">
            <a:avLst/>
          </a:prstGeom>
          <a:solidFill>
            <a:srgbClr val="3366FF"/>
          </a:solidFill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300" dirty="0">
                <a:solidFill>
                  <a:srgbClr val="FFFFFF"/>
                </a:solidFill>
              </a:rPr>
              <a:t>Test</a:t>
            </a:r>
          </a:p>
        </p:txBody>
      </p:sp>
    </p:spTree>
  </p:cSld>
  <p:clrMapOvr>
    <a:masterClrMapping/>
  </p:clrMapOvr>
  <p:transition spd="med">
    <p:dissolv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1"/>
          <p:cNvSpPr>
            <a:spLocks noGrp="1" noChangeArrowheads="1"/>
          </p:cNvSpPr>
          <p:nvPr>
            <p:ph type="title"/>
          </p:nvPr>
        </p:nvSpPr>
        <p:spPr>
          <a:xfrm>
            <a:off x="457200" y="107041"/>
            <a:ext cx="8229600" cy="1143000"/>
          </a:xfrm>
        </p:spPr>
        <p:txBody>
          <a:bodyPr>
            <a:normAutofit/>
          </a:bodyPr>
          <a:lstStyle/>
          <a:p>
            <a:pPr eaLnBrk="1" hangingPunct="1">
              <a:defRPr/>
            </a:pPr>
            <a:r>
              <a:rPr lang="en-US" sz="3200" dirty="0">
                <a:sym typeface="Gill Sans" charset="0"/>
              </a:rPr>
              <a:t>Scrum framework</a:t>
            </a:r>
          </a:p>
        </p:txBody>
      </p:sp>
      <p:grpSp>
        <p:nvGrpSpPr>
          <p:cNvPr id="2" name="Group 2"/>
          <p:cNvGrpSpPr>
            <a:grpSpLocks/>
          </p:cNvGrpSpPr>
          <p:nvPr/>
        </p:nvGrpSpPr>
        <p:grpSpPr bwMode="auto">
          <a:xfrm>
            <a:off x="651510" y="971550"/>
            <a:ext cx="4297680" cy="2274570"/>
            <a:chOff x="0" y="0"/>
            <a:chExt cx="2608" cy="1288"/>
          </a:xfrm>
        </p:grpSpPr>
        <p:sp>
          <p:nvSpPr>
            <p:cNvPr id="21507" name="AutoShape 3"/>
            <p:cNvSpPr>
              <a:spLocks/>
            </p:cNvSpPr>
            <p:nvPr/>
          </p:nvSpPr>
          <p:spPr bwMode="auto">
            <a:xfrm>
              <a:off x="8" y="0"/>
              <a:ext cx="2600" cy="1288"/>
            </a:xfrm>
            <a:prstGeom prst="roundRect">
              <a:avLst>
                <a:gd name="adj" fmla="val 14903"/>
              </a:avLst>
            </a:prstGeom>
            <a:blipFill dpi="0" rotWithShape="0">
              <a:blip r:embed="rId3" cstate="print"/>
              <a:srcRect/>
              <a:tile tx="0" ty="0" sx="100000" sy="100000" flip="none" algn="tl"/>
            </a:blipFill>
            <a:ln w="25400">
              <a:solidFill>
                <a:srgbClr val="003C83"/>
              </a:solidFill>
              <a:round/>
              <a:headEnd/>
              <a:tailEnd/>
            </a:ln>
            <a:effectLst>
              <a:outerShdw dist="63500" dir="2700000" algn="ctr" rotWithShape="0">
                <a:schemeClr val="bg2">
                  <a:alpha val="29999"/>
                </a:scheme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>
                <a:latin typeface="Gill Sans" pitchFamily="80" charset="0"/>
                <a:ea typeface="ヒラギノ角ゴ Pro W3" pitchFamily="80" charset="-128"/>
                <a:sym typeface="Gill Sans" pitchFamily="80" charset="0"/>
              </a:endParaRPr>
            </a:p>
          </p:txBody>
        </p:sp>
        <p:sp>
          <p:nvSpPr>
            <p:cNvPr id="36886" name="Rectangle 4"/>
            <p:cNvSpPr>
              <a:spLocks/>
            </p:cNvSpPr>
            <p:nvPr/>
          </p:nvSpPr>
          <p:spPr bwMode="auto">
            <a:xfrm>
              <a:off x="96" y="392"/>
              <a:ext cx="1768" cy="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FFFFFF"/>
                  </a:solidFill>
                </a:rPr>
                <a:t>Product owner</a:t>
              </a:r>
            </a:p>
            <a:p>
              <a:pPr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500" dirty="0" err="1">
                  <a:solidFill>
                    <a:srgbClr val="FFFFFF"/>
                  </a:solidFill>
                </a:rPr>
                <a:t>ScrumMaster</a:t>
              </a:r>
              <a:endParaRPr lang="en-US" sz="2500" dirty="0">
                <a:solidFill>
                  <a:srgbClr val="FFFFFF"/>
                </a:solidFill>
              </a:endParaRPr>
            </a:p>
            <a:p>
              <a:pPr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FFFFFF"/>
                  </a:solidFill>
                </a:rPr>
                <a:t>Team</a:t>
              </a:r>
            </a:p>
          </p:txBody>
        </p:sp>
        <p:sp>
          <p:nvSpPr>
            <p:cNvPr id="36887" name="Rectangle 5"/>
            <p:cNvSpPr>
              <a:spLocks/>
            </p:cNvSpPr>
            <p:nvPr/>
          </p:nvSpPr>
          <p:spPr bwMode="auto">
            <a:xfrm>
              <a:off x="304" y="0"/>
              <a:ext cx="1200" cy="376"/>
            </a:xfrm>
            <a:prstGeom prst="rect">
              <a:avLst/>
            </a:pr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888" name="AutoShape 6"/>
            <p:cNvSpPr>
              <a:spLocks/>
            </p:cNvSpPr>
            <p:nvPr/>
          </p:nvSpPr>
          <p:spPr bwMode="auto">
            <a:xfrm rot="10800000">
              <a:off x="1432" y="88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889" name="AutoShape 7"/>
            <p:cNvSpPr>
              <a:spLocks/>
            </p:cNvSpPr>
            <p:nvPr/>
          </p:nvSpPr>
          <p:spPr bwMode="auto">
            <a:xfrm>
              <a:off x="0" y="0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890" name="Rectangle 8"/>
            <p:cNvSpPr>
              <a:spLocks/>
            </p:cNvSpPr>
            <p:nvPr/>
          </p:nvSpPr>
          <p:spPr bwMode="auto">
            <a:xfrm>
              <a:off x="0" y="216"/>
              <a:ext cx="392" cy="160"/>
            </a:xfrm>
            <a:prstGeom prst="rect">
              <a:avLst/>
            </a:pr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891" name="Rectangle 9"/>
            <p:cNvSpPr>
              <a:spLocks/>
            </p:cNvSpPr>
            <p:nvPr/>
          </p:nvSpPr>
          <p:spPr bwMode="auto">
            <a:xfrm>
              <a:off x="1352" y="0"/>
              <a:ext cx="392" cy="160"/>
            </a:xfrm>
            <a:prstGeom prst="rect">
              <a:avLst/>
            </a:pr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892" name="Rectangle 10"/>
            <p:cNvSpPr>
              <a:spLocks/>
            </p:cNvSpPr>
            <p:nvPr/>
          </p:nvSpPr>
          <p:spPr bwMode="auto">
            <a:xfrm>
              <a:off x="104" y="8"/>
              <a:ext cx="1336" cy="3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tabLst>
                  <a:tab pos="960120" algn="l"/>
                </a:tabLst>
              </a:pPr>
              <a:r>
                <a:rPr lang="en-US" dirty="0">
                  <a:solidFill>
                    <a:srgbClr val="FFFFFF"/>
                  </a:solidFill>
                </a:rPr>
                <a:t>Roles</a:t>
              </a:r>
            </a:p>
          </p:txBody>
        </p:sp>
      </p:grpSp>
      <p:grpSp>
        <p:nvGrpSpPr>
          <p:cNvPr id="3" name="Group 11"/>
          <p:cNvGrpSpPr>
            <a:grpSpLocks/>
          </p:cNvGrpSpPr>
          <p:nvPr/>
        </p:nvGrpSpPr>
        <p:grpSpPr bwMode="auto">
          <a:xfrm>
            <a:off x="3177540" y="2231384"/>
            <a:ext cx="3726180" cy="3331216"/>
            <a:chOff x="0" y="0"/>
            <a:chExt cx="2608" cy="1592"/>
          </a:xfrm>
        </p:grpSpPr>
        <p:sp>
          <p:nvSpPr>
            <p:cNvPr id="21516" name="AutoShape 12"/>
            <p:cNvSpPr>
              <a:spLocks/>
            </p:cNvSpPr>
            <p:nvPr/>
          </p:nvSpPr>
          <p:spPr bwMode="auto">
            <a:xfrm>
              <a:off x="8" y="0"/>
              <a:ext cx="2600" cy="1592"/>
            </a:xfrm>
            <a:prstGeom prst="roundRect">
              <a:avLst>
                <a:gd name="adj" fmla="val 12060"/>
              </a:avLst>
            </a:prstGeom>
            <a:blipFill dpi="0" rotWithShape="0">
              <a:blip r:embed="rId3" cstate="print"/>
              <a:srcRect/>
              <a:tile tx="0" ty="0" sx="100000" sy="100000" flip="none" algn="tl"/>
            </a:blipFill>
            <a:ln w="25400">
              <a:solidFill>
                <a:srgbClr val="003C83"/>
              </a:solidFill>
              <a:round/>
              <a:headEnd/>
              <a:tailEnd/>
            </a:ln>
            <a:effectLst>
              <a:outerShdw dist="63500" dir="2700000" algn="ctr" rotWithShape="0">
                <a:schemeClr val="bg2">
                  <a:alpha val="29999"/>
                </a:scheme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>
                <a:latin typeface="Gill Sans" pitchFamily="80" charset="0"/>
                <a:ea typeface="ヒラギノ角ゴ Pro W3" pitchFamily="80" charset="-128"/>
                <a:sym typeface="Gill Sans" pitchFamily="80" charset="0"/>
              </a:endParaRPr>
            </a:p>
          </p:txBody>
        </p:sp>
        <p:sp>
          <p:nvSpPr>
            <p:cNvPr id="36878" name="Rectangle 13"/>
            <p:cNvSpPr>
              <a:spLocks/>
            </p:cNvSpPr>
            <p:nvPr/>
          </p:nvSpPr>
          <p:spPr bwMode="auto">
            <a:xfrm>
              <a:off x="96" y="392"/>
              <a:ext cx="2320" cy="10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FFFFFF"/>
                  </a:solidFill>
                </a:rPr>
                <a:t>Sprint planning</a:t>
              </a:r>
            </a:p>
            <a:p>
              <a:pPr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FFFFFF"/>
                  </a:solidFill>
                </a:rPr>
                <a:t>Sprint review</a:t>
              </a:r>
            </a:p>
            <a:p>
              <a:pPr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FFFFFF"/>
                  </a:solidFill>
                </a:rPr>
                <a:t>Sprint retrospective</a:t>
              </a:r>
            </a:p>
            <a:p>
              <a:pPr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FFFFFF"/>
                  </a:solidFill>
                </a:rPr>
                <a:t>Daily scrum meeting</a:t>
              </a:r>
            </a:p>
          </p:txBody>
        </p:sp>
        <p:sp>
          <p:nvSpPr>
            <p:cNvPr id="36879" name="Rectangle 14"/>
            <p:cNvSpPr>
              <a:spLocks/>
            </p:cNvSpPr>
            <p:nvPr/>
          </p:nvSpPr>
          <p:spPr bwMode="auto">
            <a:xfrm>
              <a:off x="304" y="0"/>
              <a:ext cx="1200" cy="376"/>
            </a:xfrm>
            <a:prstGeom prst="rect">
              <a:avLst/>
            </a:pr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880" name="AutoShape 15"/>
            <p:cNvSpPr>
              <a:spLocks/>
            </p:cNvSpPr>
            <p:nvPr/>
          </p:nvSpPr>
          <p:spPr bwMode="auto">
            <a:xfrm rot="10800000">
              <a:off x="1432" y="88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881" name="AutoShape 16"/>
            <p:cNvSpPr>
              <a:spLocks/>
            </p:cNvSpPr>
            <p:nvPr/>
          </p:nvSpPr>
          <p:spPr bwMode="auto">
            <a:xfrm>
              <a:off x="0" y="0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882" name="Rectangle 17"/>
            <p:cNvSpPr>
              <a:spLocks/>
            </p:cNvSpPr>
            <p:nvPr/>
          </p:nvSpPr>
          <p:spPr bwMode="auto">
            <a:xfrm>
              <a:off x="0" y="216"/>
              <a:ext cx="392" cy="160"/>
            </a:xfrm>
            <a:prstGeom prst="rect">
              <a:avLst/>
            </a:pr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883" name="Rectangle 18"/>
            <p:cNvSpPr>
              <a:spLocks/>
            </p:cNvSpPr>
            <p:nvPr/>
          </p:nvSpPr>
          <p:spPr bwMode="auto">
            <a:xfrm>
              <a:off x="1352" y="0"/>
              <a:ext cx="392" cy="160"/>
            </a:xfrm>
            <a:prstGeom prst="rect">
              <a:avLst/>
            </a:pr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884" name="Rectangle 19"/>
            <p:cNvSpPr>
              <a:spLocks/>
            </p:cNvSpPr>
            <p:nvPr/>
          </p:nvSpPr>
          <p:spPr bwMode="auto">
            <a:xfrm>
              <a:off x="104" y="8"/>
              <a:ext cx="1512" cy="3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tabLst>
                  <a:tab pos="960120" algn="l"/>
                </a:tabLst>
              </a:pPr>
              <a:r>
                <a:rPr lang="en-US" dirty="0">
                  <a:solidFill>
                    <a:srgbClr val="FFFFFF"/>
                  </a:solidFill>
                </a:rPr>
                <a:t>Ceremonies</a:t>
              </a:r>
            </a:p>
          </p:txBody>
        </p:sp>
      </p:grpSp>
      <p:grpSp>
        <p:nvGrpSpPr>
          <p:cNvPr id="4" name="Group 20"/>
          <p:cNvGrpSpPr>
            <a:grpSpLocks/>
          </p:cNvGrpSpPr>
          <p:nvPr/>
        </p:nvGrpSpPr>
        <p:grpSpPr bwMode="auto">
          <a:xfrm>
            <a:off x="4892040" y="5017770"/>
            <a:ext cx="3726180" cy="1840230"/>
            <a:chOff x="0" y="0"/>
            <a:chExt cx="2608" cy="1288"/>
          </a:xfrm>
        </p:grpSpPr>
        <p:sp>
          <p:nvSpPr>
            <p:cNvPr id="21525" name="AutoShape 21"/>
            <p:cNvSpPr>
              <a:spLocks/>
            </p:cNvSpPr>
            <p:nvPr/>
          </p:nvSpPr>
          <p:spPr bwMode="auto">
            <a:xfrm>
              <a:off x="8" y="0"/>
              <a:ext cx="2600" cy="1288"/>
            </a:xfrm>
            <a:prstGeom prst="roundRect">
              <a:avLst>
                <a:gd name="adj" fmla="val 14903"/>
              </a:avLst>
            </a:prstGeom>
            <a:blipFill dpi="0" rotWithShape="0">
              <a:blip r:embed="rId3" cstate="print"/>
              <a:srcRect/>
              <a:tile tx="0" ty="0" sx="100000" sy="100000" flip="none" algn="tl"/>
            </a:blipFill>
            <a:ln w="25400">
              <a:solidFill>
                <a:srgbClr val="003C83"/>
              </a:solidFill>
              <a:round/>
              <a:headEnd/>
              <a:tailEnd/>
            </a:ln>
            <a:effectLst>
              <a:outerShdw dist="63500" dir="2700000" algn="ctr" rotWithShape="0">
                <a:schemeClr val="bg2">
                  <a:alpha val="29999"/>
                </a:scheme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>
                <a:latin typeface="Gill Sans" pitchFamily="80" charset="0"/>
                <a:ea typeface="ヒラギノ角ゴ Pro W3" pitchFamily="80" charset="-128"/>
                <a:sym typeface="Gill Sans" pitchFamily="80" charset="0"/>
              </a:endParaRPr>
            </a:p>
          </p:txBody>
        </p:sp>
        <p:sp>
          <p:nvSpPr>
            <p:cNvPr id="36870" name="Rectangle 22"/>
            <p:cNvSpPr>
              <a:spLocks/>
            </p:cNvSpPr>
            <p:nvPr/>
          </p:nvSpPr>
          <p:spPr bwMode="auto">
            <a:xfrm>
              <a:off x="96" y="392"/>
              <a:ext cx="2376" cy="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FFFFFF"/>
                  </a:solidFill>
                </a:rPr>
                <a:t>Product backlog</a:t>
              </a:r>
            </a:p>
            <a:p>
              <a:pPr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FFFFFF"/>
                  </a:solidFill>
                </a:rPr>
                <a:t>Sprint backlog</a:t>
              </a:r>
            </a:p>
            <a:p>
              <a:pPr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500" dirty="0" err="1">
                  <a:solidFill>
                    <a:srgbClr val="FFFFFF"/>
                  </a:solidFill>
                </a:rPr>
                <a:t>Burndown</a:t>
              </a:r>
              <a:r>
                <a:rPr lang="en-US" sz="2500" dirty="0">
                  <a:solidFill>
                    <a:srgbClr val="FFFFFF"/>
                  </a:solidFill>
                </a:rPr>
                <a:t> charts</a:t>
              </a:r>
            </a:p>
          </p:txBody>
        </p:sp>
        <p:sp>
          <p:nvSpPr>
            <p:cNvPr id="36871" name="Rectangle 23"/>
            <p:cNvSpPr>
              <a:spLocks/>
            </p:cNvSpPr>
            <p:nvPr/>
          </p:nvSpPr>
          <p:spPr bwMode="auto">
            <a:xfrm>
              <a:off x="304" y="0"/>
              <a:ext cx="1200" cy="376"/>
            </a:xfrm>
            <a:prstGeom prst="rect">
              <a:avLst/>
            </a:pr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872" name="AutoShape 24"/>
            <p:cNvSpPr>
              <a:spLocks/>
            </p:cNvSpPr>
            <p:nvPr/>
          </p:nvSpPr>
          <p:spPr bwMode="auto">
            <a:xfrm rot="10800000">
              <a:off x="1432" y="88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873" name="AutoShape 25"/>
            <p:cNvSpPr>
              <a:spLocks/>
            </p:cNvSpPr>
            <p:nvPr/>
          </p:nvSpPr>
          <p:spPr bwMode="auto">
            <a:xfrm>
              <a:off x="0" y="0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874" name="Rectangle 26"/>
            <p:cNvSpPr>
              <a:spLocks/>
            </p:cNvSpPr>
            <p:nvPr/>
          </p:nvSpPr>
          <p:spPr bwMode="auto">
            <a:xfrm>
              <a:off x="0" y="216"/>
              <a:ext cx="392" cy="160"/>
            </a:xfrm>
            <a:prstGeom prst="rect">
              <a:avLst/>
            </a:pr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875" name="Rectangle 27"/>
            <p:cNvSpPr>
              <a:spLocks/>
            </p:cNvSpPr>
            <p:nvPr/>
          </p:nvSpPr>
          <p:spPr bwMode="auto">
            <a:xfrm>
              <a:off x="1352" y="0"/>
              <a:ext cx="392" cy="160"/>
            </a:xfrm>
            <a:prstGeom prst="rect">
              <a:avLst/>
            </a:pr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876" name="Rectangle 28"/>
            <p:cNvSpPr>
              <a:spLocks/>
            </p:cNvSpPr>
            <p:nvPr/>
          </p:nvSpPr>
          <p:spPr bwMode="auto">
            <a:xfrm>
              <a:off x="104" y="8"/>
              <a:ext cx="1336" cy="3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tabLst>
                  <a:tab pos="960120" algn="l"/>
                </a:tabLst>
              </a:pPr>
              <a:r>
                <a:rPr lang="en-US" dirty="0">
                  <a:solidFill>
                    <a:srgbClr val="FFFFFF"/>
                  </a:solidFill>
                </a:rPr>
                <a:t>Artifacts</a:t>
              </a:r>
            </a:p>
          </p:txBody>
        </p:sp>
      </p:grpSp>
    </p:spTree>
  </p:cSld>
  <p:clrMapOvr>
    <a:masterClrMapping/>
  </p:clrMapOvr>
  <p:transition spd="med">
    <p:dissolv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1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>
              <a:defRPr/>
            </a:pPr>
            <a:r>
              <a:rPr lang="en-US" sz="2800" dirty="0">
                <a:sym typeface="Gill Sans" charset="0"/>
              </a:rPr>
              <a:t>Scrum framework</a:t>
            </a:r>
          </a:p>
        </p:txBody>
      </p:sp>
      <p:grpSp>
        <p:nvGrpSpPr>
          <p:cNvPr id="2" name="Group 2"/>
          <p:cNvGrpSpPr>
            <a:grpSpLocks/>
          </p:cNvGrpSpPr>
          <p:nvPr/>
        </p:nvGrpSpPr>
        <p:grpSpPr bwMode="auto">
          <a:xfrm>
            <a:off x="2846070" y="2423160"/>
            <a:ext cx="3726180" cy="2274570"/>
            <a:chOff x="0" y="0"/>
            <a:chExt cx="2608" cy="1592"/>
          </a:xfrm>
        </p:grpSpPr>
        <p:sp>
          <p:nvSpPr>
            <p:cNvPr id="22531" name="AutoShape 3"/>
            <p:cNvSpPr>
              <a:spLocks/>
            </p:cNvSpPr>
            <p:nvPr/>
          </p:nvSpPr>
          <p:spPr bwMode="auto">
            <a:xfrm>
              <a:off x="8" y="0"/>
              <a:ext cx="2600" cy="1592"/>
            </a:xfrm>
            <a:prstGeom prst="roundRect">
              <a:avLst>
                <a:gd name="adj" fmla="val 12060"/>
              </a:avLst>
            </a:prstGeom>
            <a:solidFill>
              <a:srgbClr val="E6E6E6"/>
            </a:solidFill>
            <a:ln w="25400">
              <a:solidFill>
                <a:srgbClr val="B3B3B3"/>
              </a:solidFill>
              <a:round/>
              <a:headEnd/>
              <a:tailEnd/>
            </a:ln>
            <a:effectLst>
              <a:outerShdw dist="63500" dir="2700000" algn="ctr" rotWithShape="0">
                <a:schemeClr val="bg2">
                  <a:alpha val="29999"/>
                </a:scheme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>
                <a:latin typeface="Gill Sans" pitchFamily="80" charset="0"/>
                <a:ea typeface="ヒラギノ角ゴ Pro W3" pitchFamily="80" charset="-128"/>
                <a:sym typeface="Gill Sans" pitchFamily="80" charset="0"/>
              </a:endParaRPr>
            </a:p>
          </p:txBody>
        </p:sp>
        <p:sp>
          <p:nvSpPr>
            <p:cNvPr id="38933" name="Rectangle 4"/>
            <p:cNvSpPr>
              <a:spLocks/>
            </p:cNvSpPr>
            <p:nvPr/>
          </p:nvSpPr>
          <p:spPr bwMode="auto">
            <a:xfrm>
              <a:off x="96" y="392"/>
              <a:ext cx="2320" cy="10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buClr>
                  <a:srgbClr val="B3B3B3"/>
                </a:buClr>
                <a:buSzPct val="125000"/>
                <a:buFont typeface="Lucida Grande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B3B3B3"/>
                  </a:solidFill>
                </a:rPr>
                <a:t>Sprint planning</a:t>
              </a:r>
            </a:p>
            <a:p>
              <a:pPr>
                <a:buClr>
                  <a:srgbClr val="B3B3B3"/>
                </a:buClr>
                <a:buSzPct val="125000"/>
                <a:buFont typeface="Lucida Grande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B3B3B3"/>
                  </a:solidFill>
                </a:rPr>
                <a:t>Sprint review</a:t>
              </a:r>
            </a:p>
            <a:p>
              <a:pPr>
                <a:buClr>
                  <a:srgbClr val="B3B3B3"/>
                </a:buClr>
                <a:buSzPct val="125000"/>
                <a:buFont typeface="Lucida Grande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B3B3B3"/>
                  </a:solidFill>
                </a:rPr>
                <a:t>Sprint retrospective</a:t>
              </a:r>
            </a:p>
            <a:p>
              <a:pPr>
                <a:buClr>
                  <a:srgbClr val="B3B3B3"/>
                </a:buClr>
                <a:buSzPct val="125000"/>
                <a:buFont typeface="Lucida Grande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B3B3B3"/>
                  </a:solidFill>
                </a:rPr>
                <a:t>Daily scrum meeting</a:t>
              </a:r>
            </a:p>
          </p:txBody>
        </p:sp>
        <p:sp>
          <p:nvSpPr>
            <p:cNvPr id="38934" name="Rectangle 5"/>
            <p:cNvSpPr>
              <a:spLocks/>
            </p:cNvSpPr>
            <p:nvPr/>
          </p:nvSpPr>
          <p:spPr bwMode="auto">
            <a:xfrm>
              <a:off x="304" y="0"/>
              <a:ext cx="1200" cy="376"/>
            </a:xfrm>
            <a:prstGeom prst="rect">
              <a:avLst/>
            </a:pr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935" name="AutoShape 6"/>
            <p:cNvSpPr>
              <a:spLocks/>
            </p:cNvSpPr>
            <p:nvPr/>
          </p:nvSpPr>
          <p:spPr bwMode="auto">
            <a:xfrm rot="10800000">
              <a:off x="1432" y="88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936" name="AutoShape 7"/>
            <p:cNvSpPr>
              <a:spLocks/>
            </p:cNvSpPr>
            <p:nvPr/>
          </p:nvSpPr>
          <p:spPr bwMode="auto">
            <a:xfrm>
              <a:off x="0" y="0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937" name="Rectangle 8"/>
            <p:cNvSpPr>
              <a:spLocks/>
            </p:cNvSpPr>
            <p:nvPr/>
          </p:nvSpPr>
          <p:spPr bwMode="auto">
            <a:xfrm>
              <a:off x="0" y="216"/>
              <a:ext cx="392" cy="160"/>
            </a:xfrm>
            <a:prstGeom prst="rect">
              <a:avLst/>
            </a:pr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938" name="Rectangle 9"/>
            <p:cNvSpPr>
              <a:spLocks/>
            </p:cNvSpPr>
            <p:nvPr/>
          </p:nvSpPr>
          <p:spPr bwMode="auto">
            <a:xfrm>
              <a:off x="1352" y="0"/>
              <a:ext cx="392" cy="160"/>
            </a:xfrm>
            <a:prstGeom prst="rect">
              <a:avLst/>
            </a:pr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939" name="Rectangle 10"/>
            <p:cNvSpPr>
              <a:spLocks/>
            </p:cNvSpPr>
            <p:nvPr/>
          </p:nvSpPr>
          <p:spPr bwMode="auto">
            <a:xfrm>
              <a:off x="104" y="8"/>
              <a:ext cx="1640" cy="352"/>
            </a:xfrm>
            <a:prstGeom prst="rect">
              <a:avLst/>
            </a:prstGeom>
            <a:solidFill>
              <a:srgbClr val="B3B3B3"/>
            </a:solidFill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tabLst>
                  <a:tab pos="960120" algn="l"/>
                </a:tabLst>
              </a:pPr>
              <a:r>
                <a:rPr lang="en-US" dirty="0">
                  <a:solidFill>
                    <a:srgbClr val="FFFFFF"/>
                  </a:solidFill>
                </a:rPr>
                <a:t>Ceremonies</a:t>
              </a:r>
            </a:p>
          </p:txBody>
        </p:sp>
      </p:grpSp>
      <p:sp>
        <p:nvSpPr>
          <p:cNvPr id="22539" name="AutoShape 11"/>
          <p:cNvSpPr>
            <a:spLocks/>
          </p:cNvSpPr>
          <p:nvPr/>
        </p:nvSpPr>
        <p:spPr bwMode="auto">
          <a:xfrm>
            <a:off x="4606290" y="4594860"/>
            <a:ext cx="3714750" cy="1840230"/>
          </a:xfrm>
          <a:prstGeom prst="roundRect">
            <a:avLst>
              <a:gd name="adj" fmla="val 14903"/>
            </a:avLst>
          </a:prstGeom>
          <a:solidFill>
            <a:srgbClr val="E6E6E6"/>
          </a:solidFill>
          <a:ln w="25400">
            <a:solidFill>
              <a:srgbClr val="B3B3B3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82296" tIns="41148" rIns="82296" bIns="41148"/>
          <a:lstStyle/>
          <a:p>
            <a:pPr>
              <a:defRPr/>
            </a:pPr>
            <a:endParaRPr lang="en-US">
              <a:latin typeface="Gill Sans" pitchFamily="80" charset="0"/>
              <a:ea typeface="ヒラギノ角ゴ Pro W3" pitchFamily="80" charset="-128"/>
              <a:sym typeface="Gill Sans" pitchFamily="80" charset="0"/>
            </a:endParaRPr>
          </a:p>
        </p:txBody>
      </p:sp>
      <p:sp>
        <p:nvSpPr>
          <p:cNvPr id="38916" name="Rectangle 12"/>
          <p:cNvSpPr>
            <a:spLocks/>
          </p:cNvSpPr>
          <p:nvPr/>
        </p:nvSpPr>
        <p:spPr bwMode="auto">
          <a:xfrm>
            <a:off x="4732020" y="5154930"/>
            <a:ext cx="3394710" cy="11887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720" tIns="45720" rIns="45720" bIns="45720"/>
          <a:lstStyle/>
          <a:p>
            <a:pPr>
              <a:buClr>
                <a:srgbClr val="B3B3B3"/>
              </a:buClr>
              <a:buSzPct val="125000"/>
              <a:buFont typeface="Lucida Grande" pitchFamily="1" charset="0"/>
              <a:buChar char="•"/>
              <a:tabLst>
                <a:tab pos="960120" algn="l"/>
              </a:tabLst>
            </a:pPr>
            <a:r>
              <a:rPr lang="en-US" sz="2500" dirty="0">
                <a:solidFill>
                  <a:srgbClr val="B3B3B3"/>
                </a:solidFill>
              </a:rPr>
              <a:t>Product backlog</a:t>
            </a:r>
          </a:p>
          <a:p>
            <a:pPr>
              <a:buClr>
                <a:srgbClr val="B3B3B3"/>
              </a:buClr>
              <a:buSzPct val="125000"/>
              <a:buFont typeface="Lucida Grande" pitchFamily="1" charset="0"/>
              <a:buChar char="•"/>
              <a:tabLst>
                <a:tab pos="960120" algn="l"/>
              </a:tabLst>
            </a:pPr>
            <a:r>
              <a:rPr lang="en-US" sz="2500" dirty="0">
                <a:solidFill>
                  <a:srgbClr val="B3B3B3"/>
                </a:solidFill>
              </a:rPr>
              <a:t>Sprint backlog</a:t>
            </a:r>
          </a:p>
          <a:p>
            <a:pPr>
              <a:buClr>
                <a:srgbClr val="B3B3B3"/>
              </a:buClr>
              <a:buSzPct val="125000"/>
              <a:buFont typeface="Lucida Grande" pitchFamily="1" charset="0"/>
              <a:buChar char="•"/>
              <a:tabLst>
                <a:tab pos="960120" algn="l"/>
              </a:tabLst>
            </a:pPr>
            <a:r>
              <a:rPr lang="en-US" sz="2500" dirty="0" err="1">
                <a:solidFill>
                  <a:srgbClr val="B3B3B3"/>
                </a:solidFill>
              </a:rPr>
              <a:t>Burndown</a:t>
            </a:r>
            <a:r>
              <a:rPr lang="en-US" sz="2500" dirty="0">
                <a:solidFill>
                  <a:srgbClr val="B3B3B3"/>
                </a:solidFill>
              </a:rPr>
              <a:t> charts</a:t>
            </a:r>
          </a:p>
        </p:txBody>
      </p:sp>
      <p:sp>
        <p:nvSpPr>
          <p:cNvPr id="38917" name="Rectangle 13"/>
          <p:cNvSpPr>
            <a:spLocks/>
          </p:cNvSpPr>
          <p:nvPr/>
        </p:nvSpPr>
        <p:spPr bwMode="auto">
          <a:xfrm>
            <a:off x="5029200" y="4594860"/>
            <a:ext cx="1714500" cy="537210"/>
          </a:xfrm>
          <a:prstGeom prst="rect">
            <a:avLst/>
          </a:prstGeom>
          <a:solidFill>
            <a:srgbClr val="B3B3B3"/>
          </a:solidFill>
          <a:ln w="25400">
            <a:noFill/>
            <a:miter lim="800000"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38918" name="AutoShape 14"/>
          <p:cNvSpPr>
            <a:spLocks/>
          </p:cNvSpPr>
          <p:nvPr/>
        </p:nvSpPr>
        <p:spPr bwMode="auto">
          <a:xfrm rot="10800000">
            <a:off x="6640830" y="4720590"/>
            <a:ext cx="445770" cy="411480"/>
          </a:xfrm>
          <a:custGeom>
            <a:avLst/>
            <a:gdLst>
              <a:gd name="T0" fmla="*/ 165592411 w 21600"/>
              <a:gd name="T1" fmla="*/ 616479 h 21600"/>
              <a:gd name="T2" fmla="*/ 168792 w 21600"/>
              <a:gd name="T3" fmla="*/ 133998399 h 21600"/>
              <a:gd name="T4" fmla="*/ 0 w 21600"/>
              <a:gd name="T5" fmla="*/ 204838300 h 21600"/>
              <a:gd name="T6" fmla="*/ 260433876 w 21600"/>
              <a:gd name="T7" fmla="*/ 204838300 h 21600"/>
              <a:gd name="T8" fmla="*/ 260433876 w 21600"/>
              <a:gd name="T9" fmla="*/ 0 h 21600"/>
              <a:gd name="T10" fmla="*/ 165592411 w 21600"/>
              <a:gd name="T11" fmla="*/ 616479 h 21600"/>
              <a:gd name="T12" fmla="*/ 165592411 w 21600"/>
              <a:gd name="T13" fmla="*/ 616479 h 21600"/>
              <a:gd name="T14" fmla="*/ 165592411 w 21600"/>
              <a:gd name="T15" fmla="*/ 616479 h 2160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21600" h="21600">
                <a:moveTo>
                  <a:pt x="13734" y="65"/>
                </a:moveTo>
                <a:cubicBezTo>
                  <a:pt x="4547" y="550"/>
                  <a:pt x="111" y="6203"/>
                  <a:pt x="14" y="14130"/>
                </a:cubicBezTo>
                <a:cubicBezTo>
                  <a:pt x="9" y="16620"/>
                  <a:pt x="5" y="19110"/>
                  <a:pt x="0" y="21600"/>
                </a:cubicBezTo>
                <a:cubicBezTo>
                  <a:pt x="7200" y="21600"/>
                  <a:pt x="14400" y="21600"/>
                  <a:pt x="21600" y="21600"/>
                </a:cubicBezTo>
                <a:cubicBezTo>
                  <a:pt x="21600" y="14400"/>
                  <a:pt x="21600" y="7200"/>
                  <a:pt x="21600" y="0"/>
                </a:cubicBezTo>
                <a:cubicBezTo>
                  <a:pt x="18978" y="22"/>
                  <a:pt x="16356" y="43"/>
                  <a:pt x="13734" y="65"/>
                </a:cubicBezTo>
                <a:cubicBezTo>
                  <a:pt x="13734" y="65"/>
                  <a:pt x="13734" y="65"/>
                  <a:pt x="13734" y="65"/>
                </a:cubicBezTo>
                <a:cubicBezTo>
                  <a:pt x="13734" y="65"/>
                  <a:pt x="13734" y="65"/>
                  <a:pt x="13734" y="65"/>
                </a:cubicBezTo>
              </a:path>
            </a:pathLst>
          </a:custGeom>
          <a:solidFill>
            <a:srgbClr val="B3B3B3"/>
          </a:solidFill>
          <a:ln w="25400">
            <a:noFill/>
            <a:miter lim="800000"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38919" name="AutoShape 15"/>
          <p:cNvSpPr>
            <a:spLocks/>
          </p:cNvSpPr>
          <p:nvPr/>
        </p:nvSpPr>
        <p:spPr bwMode="auto">
          <a:xfrm>
            <a:off x="4594860" y="4594860"/>
            <a:ext cx="445770" cy="411480"/>
          </a:xfrm>
          <a:custGeom>
            <a:avLst/>
            <a:gdLst>
              <a:gd name="T0" fmla="*/ 165592411 w 21600"/>
              <a:gd name="T1" fmla="*/ 616479 h 21600"/>
              <a:gd name="T2" fmla="*/ 168792 w 21600"/>
              <a:gd name="T3" fmla="*/ 133998399 h 21600"/>
              <a:gd name="T4" fmla="*/ 0 w 21600"/>
              <a:gd name="T5" fmla="*/ 204838300 h 21600"/>
              <a:gd name="T6" fmla="*/ 260433876 w 21600"/>
              <a:gd name="T7" fmla="*/ 204838300 h 21600"/>
              <a:gd name="T8" fmla="*/ 260433876 w 21600"/>
              <a:gd name="T9" fmla="*/ 0 h 21600"/>
              <a:gd name="T10" fmla="*/ 165592411 w 21600"/>
              <a:gd name="T11" fmla="*/ 616479 h 21600"/>
              <a:gd name="T12" fmla="*/ 165592411 w 21600"/>
              <a:gd name="T13" fmla="*/ 616479 h 21600"/>
              <a:gd name="T14" fmla="*/ 165592411 w 21600"/>
              <a:gd name="T15" fmla="*/ 616479 h 2160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21600" h="21600">
                <a:moveTo>
                  <a:pt x="13734" y="65"/>
                </a:moveTo>
                <a:cubicBezTo>
                  <a:pt x="4547" y="550"/>
                  <a:pt x="111" y="6203"/>
                  <a:pt x="14" y="14130"/>
                </a:cubicBezTo>
                <a:cubicBezTo>
                  <a:pt x="9" y="16620"/>
                  <a:pt x="5" y="19110"/>
                  <a:pt x="0" y="21600"/>
                </a:cubicBezTo>
                <a:cubicBezTo>
                  <a:pt x="7200" y="21600"/>
                  <a:pt x="14400" y="21600"/>
                  <a:pt x="21600" y="21600"/>
                </a:cubicBezTo>
                <a:cubicBezTo>
                  <a:pt x="21600" y="14400"/>
                  <a:pt x="21600" y="7200"/>
                  <a:pt x="21600" y="0"/>
                </a:cubicBezTo>
                <a:cubicBezTo>
                  <a:pt x="18978" y="22"/>
                  <a:pt x="16356" y="43"/>
                  <a:pt x="13734" y="65"/>
                </a:cubicBezTo>
                <a:cubicBezTo>
                  <a:pt x="13734" y="65"/>
                  <a:pt x="13734" y="65"/>
                  <a:pt x="13734" y="65"/>
                </a:cubicBezTo>
                <a:cubicBezTo>
                  <a:pt x="13734" y="65"/>
                  <a:pt x="13734" y="65"/>
                  <a:pt x="13734" y="65"/>
                </a:cubicBezTo>
              </a:path>
            </a:pathLst>
          </a:custGeom>
          <a:solidFill>
            <a:srgbClr val="B3B3B3"/>
          </a:solidFill>
          <a:ln w="25400">
            <a:noFill/>
            <a:miter lim="800000"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38920" name="Rectangle 16"/>
          <p:cNvSpPr>
            <a:spLocks/>
          </p:cNvSpPr>
          <p:nvPr/>
        </p:nvSpPr>
        <p:spPr bwMode="auto">
          <a:xfrm>
            <a:off x="4594860" y="4903470"/>
            <a:ext cx="560070" cy="228600"/>
          </a:xfrm>
          <a:prstGeom prst="rect">
            <a:avLst/>
          </a:prstGeom>
          <a:solidFill>
            <a:srgbClr val="B3B3B3"/>
          </a:solidFill>
          <a:ln w="25400">
            <a:noFill/>
            <a:miter lim="800000"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38921" name="Rectangle 17"/>
          <p:cNvSpPr>
            <a:spLocks/>
          </p:cNvSpPr>
          <p:nvPr/>
        </p:nvSpPr>
        <p:spPr bwMode="auto">
          <a:xfrm>
            <a:off x="6526530" y="4594860"/>
            <a:ext cx="560070" cy="228600"/>
          </a:xfrm>
          <a:prstGeom prst="rect">
            <a:avLst/>
          </a:prstGeom>
          <a:solidFill>
            <a:srgbClr val="B3B3B3"/>
          </a:solidFill>
          <a:ln w="25400">
            <a:noFill/>
            <a:miter lim="800000"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38922" name="Rectangle 18"/>
          <p:cNvSpPr>
            <a:spLocks/>
          </p:cNvSpPr>
          <p:nvPr/>
        </p:nvSpPr>
        <p:spPr bwMode="auto">
          <a:xfrm>
            <a:off x="4743450" y="4606290"/>
            <a:ext cx="1908810" cy="5029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720" tIns="45720" rIns="45720" bIns="45720"/>
          <a:lstStyle/>
          <a:p>
            <a:pPr>
              <a:tabLst>
                <a:tab pos="960120" algn="l"/>
              </a:tabLst>
            </a:pPr>
            <a:r>
              <a:rPr lang="en-US" dirty="0">
                <a:solidFill>
                  <a:srgbClr val="FFFFFF"/>
                </a:solidFill>
              </a:rPr>
              <a:t>Artifacts</a:t>
            </a:r>
          </a:p>
        </p:txBody>
      </p:sp>
      <p:grpSp>
        <p:nvGrpSpPr>
          <p:cNvPr id="3" name="Group 19"/>
          <p:cNvGrpSpPr>
            <a:grpSpLocks/>
          </p:cNvGrpSpPr>
          <p:nvPr/>
        </p:nvGrpSpPr>
        <p:grpSpPr bwMode="auto">
          <a:xfrm>
            <a:off x="651510" y="971550"/>
            <a:ext cx="4240530" cy="1840230"/>
            <a:chOff x="0" y="0"/>
            <a:chExt cx="2608" cy="1288"/>
          </a:xfrm>
        </p:grpSpPr>
        <p:sp>
          <p:nvSpPr>
            <p:cNvPr id="22548" name="AutoShape 20"/>
            <p:cNvSpPr>
              <a:spLocks/>
            </p:cNvSpPr>
            <p:nvPr/>
          </p:nvSpPr>
          <p:spPr bwMode="auto">
            <a:xfrm>
              <a:off x="8" y="0"/>
              <a:ext cx="2600" cy="1288"/>
            </a:xfrm>
            <a:prstGeom prst="roundRect">
              <a:avLst>
                <a:gd name="adj" fmla="val 14903"/>
              </a:avLst>
            </a:prstGeom>
            <a:blipFill dpi="0" rotWithShape="0">
              <a:blip r:embed="rId3" cstate="print"/>
              <a:srcRect/>
              <a:tile tx="0" ty="0" sx="100000" sy="100000" flip="none" algn="tl"/>
            </a:blipFill>
            <a:ln w="25400">
              <a:solidFill>
                <a:srgbClr val="003C83"/>
              </a:solidFill>
              <a:round/>
              <a:headEnd/>
              <a:tailEnd/>
            </a:ln>
            <a:effectLst>
              <a:outerShdw dist="63500" dir="2700000" algn="ctr" rotWithShape="0">
                <a:schemeClr val="bg2">
                  <a:alpha val="29999"/>
                </a:scheme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>
                <a:latin typeface="Gill Sans" pitchFamily="80" charset="0"/>
                <a:ea typeface="ヒラギノ角ゴ Pro W3" pitchFamily="80" charset="-128"/>
                <a:sym typeface="Gill Sans" pitchFamily="80" charset="0"/>
              </a:endParaRPr>
            </a:p>
          </p:txBody>
        </p:sp>
        <p:sp>
          <p:nvSpPr>
            <p:cNvPr id="38925" name="Rectangle 21"/>
            <p:cNvSpPr>
              <a:spLocks/>
            </p:cNvSpPr>
            <p:nvPr/>
          </p:nvSpPr>
          <p:spPr bwMode="auto">
            <a:xfrm>
              <a:off x="96" y="392"/>
              <a:ext cx="1768" cy="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FFFFFF"/>
                  </a:solidFill>
                </a:rPr>
                <a:t>Product owner</a:t>
              </a:r>
            </a:p>
            <a:p>
              <a:pPr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500" dirty="0" err="1">
                  <a:solidFill>
                    <a:srgbClr val="FFFFFF"/>
                  </a:solidFill>
                </a:rPr>
                <a:t>ScrumMaster</a:t>
              </a:r>
              <a:endParaRPr lang="en-US" sz="2500" dirty="0">
                <a:solidFill>
                  <a:srgbClr val="FFFFFF"/>
                </a:solidFill>
              </a:endParaRPr>
            </a:p>
            <a:p>
              <a:pPr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FFFFFF"/>
                  </a:solidFill>
                </a:rPr>
                <a:t>Team</a:t>
              </a:r>
            </a:p>
          </p:txBody>
        </p:sp>
        <p:sp>
          <p:nvSpPr>
            <p:cNvPr id="38926" name="Rectangle 22"/>
            <p:cNvSpPr>
              <a:spLocks/>
            </p:cNvSpPr>
            <p:nvPr/>
          </p:nvSpPr>
          <p:spPr bwMode="auto">
            <a:xfrm>
              <a:off x="304" y="0"/>
              <a:ext cx="1200" cy="376"/>
            </a:xfrm>
            <a:prstGeom prst="rect">
              <a:avLst/>
            </a:pr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927" name="AutoShape 23"/>
            <p:cNvSpPr>
              <a:spLocks/>
            </p:cNvSpPr>
            <p:nvPr/>
          </p:nvSpPr>
          <p:spPr bwMode="auto">
            <a:xfrm rot="10800000">
              <a:off x="1432" y="88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928" name="AutoShape 24"/>
            <p:cNvSpPr>
              <a:spLocks/>
            </p:cNvSpPr>
            <p:nvPr/>
          </p:nvSpPr>
          <p:spPr bwMode="auto">
            <a:xfrm>
              <a:off x="0" y="0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929" name="Rectangle 25"/>
            <p:cNvSpPr>
              <a:spLocks/>
            </p:cNvSpPr>
            <p:nvPr/>
          </p:nvSpPr>
          <p:spPr bwMode="auto">
            <a:xfrm>
              <a:off x="0" y="216"/>
              <a:ext cx="392" cy="160"/>
            </a:xfrm>
            <a:prstGeom prst="rect">
              <a:avLst/>
            </a:pr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930" name="Rectangle 26"/>
            <p:cNvSpPr>
              <a:spLocks/>
            </p:cNvSpPr>
            <p:nvPr/>
          </p:nvSpPr>
          <p:spPr bwMode="auto">
            <a:xfrm>
              <a:off x="1352" y="0"/>
              <a:ext cx="392" cy="160"/>
            </a:xfrm>
            <a:prstGeom prst="rect">
              <a:avLst/>
            </a:pr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931" name="Rectangle 27"/>
            <p:cNvSpPr>
              <a:spLocks/>
            </p:cNvSpPr>
            <p:nvPr/>
          </p:nvSpPr>
          <p:spPr bwMode="auto">
            <a:xfrm>
              <a:off x="104" y="8"/>
              <a:ext cx="1336" cy="3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tabLst>
                  <a:tab pos="960120" algn="l"/>
                </a:tabLst>
              </a:pPr>
              <a:r>
                <a:rPr lang="en-US" dirty="0">
                  <a:solidFill>
                    <a:srgbClr val="FFFFFF"/>
                  </a:solidFill>
                </a:rPr>
                <a:t>Roles</a:t>
              </a:r>
            </a:p>
          </p:txBody>
        </p:sp>
      </p:grpSp>
    </p:spTree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dirty="0"/>
              <a:t>Scrum Roles</a:t>
            </a:r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gray">
          <a:xfrm>
            <a:off x="145119" y="1295400"/>
            <a:ext cx="8562012" cy="518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03200" indent="-203200" algn="l" rtl="0" fontAlgn="base">
              <a:spcBef>
                <a:spcPct val="6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8000" indent="-2794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685800" indent="-1778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­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863600" indent="-1778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­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1041400" indent="-1778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1498600" indent="-1778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1955800" indent="-1778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2413000" indent="-1778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2870200" indent="-1778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lvl="1" defTabSz="1028700">
              <a:lnSpc>
                <a:spcPct val="90000"/>
              </a:lnSpc>
              <a:tabLst>
                <a:tab pos="2171700" algn="l"/>
              </a:tabLst>
            </a:pPr>
            <a:r>
              <a:rPr lang="en-GB" altLang="en-US" kern="0" dirty="0"/>
              <a:t>Product Owner</a:t>
            </a:r>
          </a:p>
          <a:p>
            <a:pPr lvl="2" defTabSz="1028700">
              <a:lnSpc>
                <a:spcPct val="90000"/>
              </a:lnSpc>
              <a:tabLst>
                <a:tab pos="2171700" algn="l"/>
              </a:tabLst>
            </a:pPr>
            <a:r>
              <a:rPr lang="en-US" altLang="en-US" sz="1800" kern="0" dirty="0"/>
              <a:t>Possibly a Product Manager or Project Sponsor</a:t>
            </a:r>
          </a:p>
          <a:p>
            <a:pPr lvl="2" defTabSz="1028700">
              <a:lnSpc>
                <a:spcPct val="90000"/>
              </a:lnSpc>
              <a:tabLst>
                <a:tab pos="2171700" algn="l"/>
              </a:tabLst>
            </a:pPr>
            <a:r>
              <a:rPr lang="en-GB" altLang="en-US" sz="1800" kern="0" dirty="0"/>
              <a:t>Decides features, release date, prioritization, $$$</a:t>
            </a:r>
          </a:p>
          <a:p>
            <a:pPr lvl="2" defTabSz="1028700">
              <a:lnSpc>
                <a:spcPct val="90000"/>
              </a:lnSpc>
              <a:tabLst>
                <a:tab pos="2171700" algn="l"/>
              </a:tabLst>
            </a:pPr>
            <a:endParaRPr lang="en-GB" altLang="en-US" sz="1200" kern="0" dirty="0"/>
          </a:p>
          <a:p>
            <a:pPr lvl="2" defTabSz="1028700">
              <a:lnSpc>
                <a:spcPct val="90000"/>
              </a:lnSpc>
              <a:tabLst>
                <a:tab pos="2171700" algn="l"/>
              </a:tabLst>
            </a:pPr>
            <a:endParaRPr lang="en-GB" altLang="en-US" sz="1200" kern="0" dirty="0"/>
          </a:p>
          <a:p>
            <a:pPr lvl="1" defTabSz="1028700">
              <a:lnSpc>
                <a:spcPct val="90000"/>
              </a:lnSpc>
              <a:tabLst>
                <a:tab pos="2171700" algn="l"/>
              </a:tabLst>
            </a:pPr>
            <a:r>
              <a:rPr lang="en-GB" altLang="en-US" kern="0" dirty="0"/>
              <a:t>Scrum Master</a:t>
            </a:r>
          </a:p>
          <a:p>
            <a:pPr lvl="2" defTabSz="1028700">
              <a:lnSpc>
                <a:spcPct val="90000"/>
              </a:lnSpc>
              <a:tabLst>
                <a:tab pos="2171700" algn="l"/>
              </a:tabLst>
            </a:pPr>
            <a:r>
              <a:rPr lang="en-US" altLang="en-US" sz="1800" kern="0" dirty="0"/>
              <a:t>Typically a Project &amp; Process Co-</a:t>
            </a:r>
            <a:r>
              <a:rPr lang="en-US" altLang="en-US" sz="1800" kern="0" dirty="0" err="1"/>
              <a:t>ordinator</a:t>
            </a:r>
            <a:r>
              <a:rPr lang="en-US" altLang="en-US" sz="1800" kern="0" dirty="0"/>
              <a:t> or Team Leader</a:t>
            </a:r>
          </a:p>
          <a:p>
            <a:pPr lvl="2" defTabSz="1028700">
              <a:lnSpc>
                <a:spcPct val="90000"/>
              </a:lnSpc>
              <a:tabLst>
                <a:tab pos="2171700" algn="l"/>
              </a:tabLst>
            </a:pPr>
            <a:r>
              <a:rPr lang="en-US" altLang="en-US" sz="1800" kern="0" dirty="0"/>
              <a:t>Responsible for enacting Scrum values and practices</a:t>
            </a:r>
          </a:p>
          <a:p>
            <a:pPr lvl="2" defTabSz="1028700">
              <a:lnSpc>
                <a:spcPct val="90000"/>
              </a:lnSpc>
              <a:tabLst>
                <a:tab pos="2171700" algn="l"/>
              </a:tabLst>
            </a:pPr>
            <a:r>
              <a:rPr lang="en-US" altLang="en-US" sz="1800" kern="0" dirty="0"/>
              <a:t>Remove impediments / politics, keeps everyone productive</a:t>
            </a:r>
          </a:p>
          <a:p>
            <a:pPr lvl="2" defTabSz="1028700">
              <a:lnSpc>
                <a:spcPct val="90000"/>
              </a:lnSpc>
              <a:tabLst>
                <a:tab pos="2171700" algn="l"/>
              </a:tabLst>
            </a:pPr>
            <a:endParaRPr lang="en-US" altLang="en-US" sz="1200" kern="0" dirty="0"/>
          </a:p>
          <a:p>
            <a:pPr lvl="2" defTabSz="1028700">
              <a:lnSpc>
                <a:spcPct val="90000"/>
              </a:lnSpc>
              <a:tabLst>
                <a:tab pos="2171700" algn="l"/>
              </a:tabLst>
            </a:pPr>
            <a:endParaRPr lang="en-US" altLang="en-US" sz="1200" kern="0" dirty="0"/>
          </a:p>
          <a:p>
            <a:pPr lvl="1" defTabSz="1028700">
              <a:lnSpc>
                <a:spcPct val="90000"/>
              </a:lnSpc>
              <a:tabLst>
                <a:tab pos="2171700" algn="l"/>
              </a:tabLst>
            </a:pPr>
            <a:r>
              <a:rPr lang="en-GB" altLang="en-US" kern="0" dirty="0"/>
              <a:t>Project Team</a:t>
            </a:r>
          </a:p>
          <a:p>
            <a:pPr lvl="2" defTabSz="1028700">
              <a:lnSpc>
                <a:spcPct val="90000"/>
              </a:lnSpc>
              <a:tabLst>
                <a:tab pos="2171700" algn="l"/>
              </a:tabLst>
            </a:pPr>
            <a:r>
              <a:rPr lang="en-GB" altLang="en-US" sz="1800" kern="0" dirty="0"/>
              <a:t>5-10 members;  </a:t>
            </a:r>
            <a:r>
              <a:rPr lang="en-US" altLang="en-US" sz="1800" kern="0" dirty="0"/>
              <a:t>Teams are self-organizing</a:t>
            </a:r>
            <a:endParaRPr lang="en-GB" altLang="en-US" sz="1800" kern="0" dirty="0"/>
          </a:p>
          <a:p>
            <a:pPr lvl="2" defTabSz="1028700">
              <a:lnSpc>
                <a:spcPct val="90000"/>
              </a:lnSpc>
              <a:tabLst>
                <a:tab pos="2171700" algn="l"/>
              </a:tabLst>
            </a:pPr>
            <a:r>
              <a:rPr lang="en-US" altLang="en-US" sz="1800" kern="0" dirty="0"/>
              <a:t>Cross-functional: QA, Programmers, UI Designers, etc.</a:t>
            </a:r>
          </a:p>
          <a:p>
            <a:pPr lvl="2" defTabSz="1028700">
              <a:lnSpc>
                <a:spcPct val="90000"/>
              </a:lnSpc>
              <a:tabLst>
                <a:tab pos="2171700" algn="l"/>
              </a:tabLst>
            </a:pPr>
            <a:r>
              <a:rPr lang="en-US" altLang="en-US" sz="1800" kern="0" dirty="0"/>
              <a:t>Membership should change only between sprints</a:t>
            </a:r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8500" y="1447800"/>
            <a:ext cx="855597" cy="693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3962" y="2995630"/>
            <a:ext cx="798154" cy="6937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" name="Group 3"/>
          <p:cNvGrpSpPr>
            <a:grpSpLocks/>
          </p:cNvGrpSpPr>
          <p:nvPr/>
        </p:nvGrpSpPr>
        <p:grpSpPr bwMode="auto">
          <a:xfrm>
            <a:off x="7117207" y="4570424"/>
            <a:ext cx="1233510" cy="1066800"/>
            <a:chOff x="0" y="0"/>
            <a:chExt cx="1704" cy="1346"/>
          </a:xfrm>
        </p:grpSpPr>
        <p:pic>
          <p:nvPicPr>
            <p:cNvPr id="11" name="Picture 4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8" y="453"/>
              <a:ext cx="507" cy="4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6" name="Group 5"/>
            <p:cNvGrpSpPr>
              <a:grpSpLocks/>
            </p:cNvGrpSpPr>
            <p:nvPr/>
          </p:nvGrpSpPr>
          <p:grpSpPr bwMode="auto">
            <a:xfrm>
              <a:off x="0" y="0"/>
              <a:ext cx="1704" cy="1346"/>
              <a:chOff x="0" y="0"/>
              <a:chExt cx="1704" cy="1346"/>
            </a:xfrm>
          </p:grpSpPr>
          <p:grpSp>
            <p:nvGrpSpPr>
              <p:cNvPr id="10" name="Group 6"/>
              <p:cNvGrpSpPr>
                <a:grpSpLocks/>
              </p:cNvGrpSpPr>
              <p:nvPr/>
            </p:nvGrpSpPr>
            <p:grpSpPr bwMode="auto">
              <a:xfrm>
                <a:off x="0" y="0"/>
                <a:ext cx="1704" cy="440"/>
                <a:chOff x="0" y="0"/>
                <a:chExt cx="1704" cy="440"/>
              </a:xfrm>
            </p:grpSpPr>
            <p:pic>
              <p:nvPicPr>
                <p:cNvPr id="19" name="Picture 7"/>
                <p:cNvPicPr>
                  <a:picLocks noChangeAspect="1" noChangeArrowheads="1"/>
                </p:cNvPicPr>
                <p:nvPr/>
              </p:nvPicPr>
              <p:blipFill>
                <a:blip r:embed="rId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0" y="0"/>
                  <a:ext cx="507" cy="44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20" name="Picture 8"/>
                <p:cNvPicPr>
                  <a:picLocks noChangeAspect="1" noChangeArrowheads="1"/>
                </p:cNvPicPr>
                <p:nvPr/>
              </p:nvPicPr>
              <p:blipFill>
                <a:blip r:embed="rId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98" y="0"/>
                  <a:ext cx="507" cy="44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21" name="Picture 9"/>
                <p:cNvPicPr>
                  <a:picLocks noChangeAspect="1" noChangeArrowheads="1"/>
                </p:cNvPicPr>
                <p:nvPr/>
              </p:nvPicPr>
              <p:blipFill>
                <a:blip r:embed="rId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196" y="0"/>
                  <a:ext cx="508" cy="44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pic>
            <p:nvPicPr>
              <p:cNvPr id="14" name="Picture 10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40" y="469"/>
                <a:ext cx="507" cy="41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grpSp>
            <p:nvGrpSpPr>
              <p:cNvPr id="12" name="Group 11"/>
              <p:cNvGrpSpPr>
                <a:grpSpLocks/>
              </p:cNvGrpSpPr>
              <p:nvPr/>
            </p:nvGrpSpPr>
            <p:grpSpPr bwMode="auto">
              <a:xfrm>
                <a:off x="0" y="906"/>
                <a:ext cx="1704" cy="440"/>
                <a:chOff x="0" y="0"/>
                <a:chExt cx="1704" cy="440"/>
              </a:xfrm>
            </p:grpSpPr>
            <p:pic>
              <p:nvPicPr>
                <p:cNvPr id="16" name="Picture 12"/>
                <p:cNvPicPr>
                  <a:picLocks noChangeAspect="1" noChangeArrowheads="1"/>
                </p:cNvPicPr>
                <p:nvPr/>
              </p:nvPicPr>
              <p:blipFill>
                <a:blip r:embed="rId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0" y="16"/>
                  <a:ext cx="507" cy="41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17" name="Picture 13"/>
                <p:cNvPicPr>
                  <a:picLocks noChangeAspect="1" noChangeArrowheads="1"/>
                </p:cNvPicPr>
                <p:nvPr/>
              </p:nvPicPr>
              <p:blipFill>
                <a:blip r:embed="rId10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196" y="0"/>
                  <a:ext cx="508" cy="44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18" name="Picture 14"/>
                <p:cNvPicPr>
                  <a:picLocks noChangeAspect="1" noChangeArrowheads="1"/>
                </p:cNvPicPr>
                <p:nvPr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98" y="0"/>
                  <a:ext cx="507" cy="44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421142212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2"/>
          <p:cNvGrpSpPr/>
          <p:nvPr/>
        </p:nvGrpSpPr>
        <p:grpSpPr>
          <a:xfrm>
            <a:off x="-457200" y="-58268"/>
            <a:ext cx="9309139" cy="5824068"/>
            <a:chOff x="-480140" y="-58268"/>
            <a:chExt cx="9776213" cy="5824068"/>
          </a:xfrm>
        </p:grpSpPr>
        <p:sp>
          <p:nvSpPr>
            <p:cNvPr id="10" name="Rectangle 1"/>
            <p:cNvSpPr txBox="1">
              <a:spLocks noChangeArrowheads="1"/>
            </p:cNvSpPr>
            <p:nvPr/>
          </p:nvSpPr>
          <p:spPr bwMode="auto">
            <a:xfrm>
              <a:off x="-480140" y="-58268"/>
              <a:ext cx="9461500" cy="10668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  <a:ext uri="{FAA26D3D-D897-4be2-8F04-BA451C77F1D7}"/>
            </a:extLst>
          </p:spPr>
          <p:txBody>
            <a:bodyPr vert="horz" wrap="square" lIns="38100" tIns="38100" rIns="38100" bIns="38100" numCol="1" anchor="ctr" anchorCtr="0" compatLnSpc="1">
              <a:prstTxWarp prst="textNoShape">
                <a:avLst/>
              </a:prstTxWarp>
            </a:bodyPr>
            <a:lstStyle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4800">
                  <a:solidFill>
                    <a:srgbClr val="5F7BAE"/>
                  </a:solidFill>
                  <a:latin typeface="+mj-lt"/>
                  <a:ea typeface="+mj-ea"/>
                  <a:cs typeface="ヒラギノ角ゴ Pro W3" charset="0"/>
                  <a:sym typeface="Gill Sans" pitchFamily="1" charset="0"/>
                </a:defRPr>
              </a:lvl1pPr>
              <a:lvl2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4800">
                  <a:solidFill>
                    <a:srgbClr val="5F7BAE"/>
                  </a:solidFill>
                  <a:latin typeface="Gill Sans" pitchFamily="80" charset="0"/>
                  <a:ea typeface="ヒラギノ角ゴ Pro W3" pitchFamily="80" charset="-128"/>
                  <a:cs typeface="ヒラギノ角ゴ Pro W3" charset="0"/>
                  <a:sym typeface="Gill Sans" pitchFamily="1" charset="0"/>
                </a:defRPr>
              </a:lvl2pPr>
              <a:lvl3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4800">
                  <a:solidFill>
                    <a:srgbClr val="5F7BAE"/>
                  </a:solidFill>
                  <a:latin typeface="Gill Sans" pitchFamily="80" charset="0"/>
                  <a:ea typeface="ヒラギノ角ゴ Pro W3" pitchFamily="80" charset="-128"/>
                  <a:cs typeface="ヒラギノ角ゴ Pro W3" charset="0"/>
                  <a:sym typeface="Gill Sans" pitchFamily="1" charset="0"/>
                </a:defRPr>
              </a:lvl3pPr>
              <a:lvl4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4800">
                  <a:solidFill>
                    <a:srgbClr val="5F7BAE"/>
                  </a:solidFill>
                  <a:latin typeface="Gill Sans" pitchFamily="80" charset="0"/>
                  <a:ea typeface="ヒラギノ角ゴ Pro W3" pitchFamily="80" charset="-128"/>
                  <a:cs typeface="ヒラギノ角ゴ Pro W3" charset="0"/>
                  <a:sym typeface="Gill Sans" pitchFamily="1" charset="0"/>
                </a:defRPr>
              </a:lvl4pPr>
              <a:lvl5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4800">
                  <a:solidFill>
                    <a:srgbClr val="5F7BAE"/>
                  </a:solidFill>
                  <a:latin typeface="Gill Sans" pitchFamily="80" charset="0"/>
                  <a:ea typeface="ヒラギノ角ゴ Pro W3" pitchFamily="80" charset="-128"/>
                  <a:cs typeface="ヒラギノ角ゴ Pro W3" charset="0"/>
                  <a:sym typeface="Gill Sans" pitchFamily="1" charset="0"/>
                </a:defRPr>
              </a:lvl5pPr>
              <a:lvl6pPr marL="457200" algn="l" rtl="0" fontAlgn="base">
                <a:spcBef>
                  <a:spcPct val="0"/>
                </a:spcBef>
                <a:spcAft>
                  <a:spcPct val="0"/>
                </a:spcAft>
                <a:defRPr sz="6400">
                  <a:solidFill>
                    <a:srgbClr val="5F7BAE"/>
                  </a:solidFill>
                  <a:latin typeface="Gill Sans" pitchFamily="80" charset="0"/>
                  <a:ea typeface="ヒラギノ角ゴ Pro W3" pitchFamily="80" charset="-128"/>
                  <a:sym typeface="Gill Sans" pitchFamily="80" charset="0"/>
                </a:defRPr>
              </a:lvl6pPr>
              <a:lvl7pPr marL="914400" algn="l" rtl="0" fontAlgn="base">
                <a:spcBef>
                  <a:spcPct val="0"/>
                </a:spcBef>
                <a:spcAft>
                  <a:spcPct val="0"/>
                </a:spcAft>
                <a:defRPr sz="6400">
                  <a:solidFill>
                    <a:srgbClr val="5F7BAE"/>
                  </a:solidFill>
                  <a:latin typeface="Gill Sans" pitchFamily="80" charset="0"/>
                  <a:ea typeface="ヒラギノ角ゴ Pro W3" pitchFamily="80" charset="-128"/>
                  <a:sym typeface="Gill Sans" pitchFamily="80" charset="0"/>
                </a:defRPr>
              </a:lvl7pPr>
              <a:lvl8pPr marL="1371600" algn="l" rtl="0" fontAlgn="base">
                <a:spcBef>
                  <a:spcPct val="0"/>
                </a:spcBef>
                <a:spcAft>
                  <a:spcPct val="0"/>
                </a:spcAft>
                <a:defRPr sz="6400">
                  <a:solidFill>
                    <a:srgbClr val="5F7BAE"/>
                  </a:solidFill>
                  <a:latin typeface="Gill Sans" pitchFamily="80" charset="0"/>
                  <a:ea typeface="ヒラギノ角ゴ Pro W3" pitchFamily="80" charset="-128"/>
                  <a:sym typeface="Gill Sans" pitchFamily="80" charset="0"/>
                </a:defRPr>
              </a:lvl8pPr>
              <a:lvl9pPr marL="1828800" algn="l" rtl="0" fontAlgn="base">
                <a:spcBef>
                  <a:spcPct val="0"/>
                </a:spcBef>
                <a:spcAft>
                  <a:spcPct val="0"/>
                </a:spcAft>
                <a:defRPr sz="6400">
                  <a:solidFill>
                    <a:srgbClr val="5F7BAE"/>
                  </a:solidFill>
                  <a:latin typeface="Gill Sans" pitchFamily="80" charset="0"/>
                  <a:ea typeface="ヒラギノ角ゴ Pro W3" pitchFamily="80" charset="-128"/>
                  <a:sym typeface="Gill Sans" pitchFamily="80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sym typeface="Gill Sans" charset="0"/>
                </a:rPr>
                <a:t>Product owner</a:t>
              </a:r>
            </a:p>
          </p:txBody>
        </p:sp>
        <p:sp>
          <p:nvSpPr>
            <p:cNvPr id="11" name="Rectangle 2"/>
            <p:cNvSpPr txBox="1">
              <a:spLocks noChangeArrowheads="1"/>
            </p:cNvSpPr>
            <p:nvPr/>
          </p:nvSpPr>
          <p:spPr bwMode="auto">
            <a:xfrm>
              <a:off x="306714" y="685800"/>
              <a:ext cx="8989359" cy="50800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  <a:ext uri="{FAA26D3D-D897-4be2-8F04-BA451C77F1D7}"/>
            </a:extLst>
          </p:spPr>
          <p:txBody>
            <a:bodyPr vert="horz" wrap="square" lIns="38100" tIns="38100" rIns="38100" bIns="38100" numCol="1" anchor="t" anchorCtr="0" compatLnSpc="1">
              <a:prstTxWarp prst="textNoShape">
                <a:avLst/>
              </a:prstTxWarp>
            </a:bodyPr>
            <a:lstStyle>
              <a:lvl1pPr marL="660400" indent="-444500" algn="l" rtl="0" eaLnBrk="0" fontAlgn="base" hangingPunct="0">
                <a:spcBef>
                  <a:spcPts val="900"/>
                </a:spcBef>
                <a:spcAft>
                  <a:spcPct val="0"/>
                </a:spcAft>
                <a:buClr>
                  <a:srgbClr val="5F7BAE"/>
                </a:buClr>
                <a:buSzPct val="150000"/>
                <a:buFont typeface="Lucida Grande" pitchFamily="1" charset="0"/>
                <a:buChar char="•"/>
                <a:defRPr sz="3600">
                  <a:solidFill>
                    <a:schemeClr val="tx1"/>
                  </a:solidFill>
                  <a:latin typeface="+mn-lt"/>
                  <a:ea typeface="+mn-ea"/>
                  <a:cs typeface="ヒラギノ角ゴ Pro W3" charset="0"/>
                  <a:sym typeface="Gill Sans" pitchFamily="1" charset="0"/>
                </a:defRPr>
              </a:lvl1pPr>
              <a:lvl2pPr marL="1003300" indent="-444500" algn="l" rtl="0" eaLnBrk="0" fontAlgn="base" hangingPunct="0">
                <a:spcBef>
                  <a:spcPts val="1800"/>
                </a:spcBef>
                <a:spcAft>
                  <a:spcPct val="0"/>
                </a:spcAft>
                <a:buSzPct val="150000"/>
                <a:buFont typeface="Lucida Grande" pitchFamily="1" charset="0"/>
                <a:buChar char="•"/>
                <a:defRPr sz="3200">
                  <a:solidFill>
                    <a:schemeClr val="tx1"/>
                  </a:solidFill>
                  <a:latin typeface="+mn-lt"/>
                  <a:ea typeface="+mn-ea"/>
                  <a:cs typeface="ヒラギノ角ゴ Pro W3" charset="0"/>
                  <a:sym typeface="Gill Sans" pitchFamily="1" charset="0"/>
                </a:defRPr>
              </a:lvl2pPr>
              <a:lvl3pPr marL="1346200" indent="-444500" algn="l" rtl="0" eaLnBrk="0" fontAlgn="base" hangingPunct="0">
                <a:spcBef>
                  <a:spcPts val="1800"/>
                </a:spcBef>
                <a:spcAft>
                  <a:spcPct val="0"/>
                </a:spcAft>
                <a:buSzPct val="150000"/>
                <a:buFont typeface="Lucida Grande" pitchFamily="1" charset="0"/>
                <a:buChar char="•"/>
                <a:defRPr sz="2800">
                  <a:solidFill>
                    <a:schemeClr val="tx1"/>
                  </a:solidFill>
                  <a:latin typeface="+mn-lt"/>
                  <a:ea typeface="+mn-ea"/>
                  <a:cs typeface="ヒラギノ角ゴ Pro W3" charset="0"/>
                  <a:sym typeface="Gill Sans" pitchFamily="1" charset="0"/>
                </a:defRPr>
              </a:lvl3pPr>
              <a:lvl4pPr marL="1701800" indent="-444500" algn="l" rtl="0" eaLnBrk="0" fontAlgn="base" hangingPunct="0">
                <a:spcBef>
                  <a:spcPts val="1800"/>
                </a:spcBef>
                <a:spcAft>
                  <a:spcPct val="0"/>
                </a:spcAft>
                <a:buSzPct val="150000"/>
                <a:buFont typeface="Lucida Grande" pitchFamily="1" charset="0"/>
                <a:buChar char="•"/>
                <a:defRPr sz="2400">
                  <a:solidFill>
                    <a:schemeClr val="tx1"/>
                  </a:solidFill>
                  <a:latin typeface="+mn-lt"/>
                  <a:ea typeface="+mn-ea"/>
                  <a:cs typeface="ヒラギノ角ゴ Pro W3" charset="0"/>
                  <a:sym typeface="Gill Sans" pitchFamily="1" charset="0"/>
                </a:defRPr>
              </a:lvl4pPr>
              <a:lvl5pPr marL="2044700" indent="-444500" algn="l" rtl="0" eaLnBrk="0" fontAlgn="base" hangingPunct="0">
                <a:spcBef>
                  <a:spcPts val="1800"/>
                </a:spcBef>
                <a:spcAft>
                  <a:spcPct val="0"/>
                </a:spcAft>
                <a:buSzPct val="150000"/>
                <a:buFont typeface="Lucida Grande" pitchFamily="1" charset="0"/>
                <a:buChar char="•"/>
                <a:defRPr sz="2400">
                  <a:solidFill>
                    <a:schemeClr val="tx1"/>
                  </a:solidFill>
                  <a:latin typeface="+mn-lt"/>
                  <a:ea typeface="+mn-ea"/>
                  <a:cs typeface="ヒラギノ角ゴ Pro W3" charset="0"/>
                  <a:sym typeface="Gill Sans" pitchFamily="1" charset="0"/>
                </a:defRPr>
              </a:lvl5pPr>
              <a:lvl6pPr marL="2501900" indent="-444500" algn="l" rtl="0" fontAlgn="base">
                <a:spcBef>
                  <a:spcPts val="1800"/>
                </a:spcBef>
                <a:spcAft>
                  <a:spcPct val="0"/>
                </a:spcAft>
                <a:buSzPct val="150000"/>
                <a:buFont typeface="Lucida Grande" pitchFamily="80" charset="0"/>
                <a:buChar char="•"/>
                <a:defRPr sz="2400">
                  <a:solidFill>
                    <a:schemeClr val="tx1"/>
                  </a:solidFill>
                  <a:latin typeface="+mn-lt"/>
                  <a:ea typeface="+mn-ea"/>
                  <a:sym typeface="Gill Sans" pitchFamily="80" charset="0"/>
                </a:defRPr>
              </a:lvl6pPr>
              <a:lvl7pPr marL="2959100" indent="-444500" algn="l" rtl="0" fontAlgn="base">
                <a:spcBef>
                  <a:spcPts val="1800"/>
                </a:spcBef>
                <a:spcAft>
                  <a:spcPct val="0"/>
                </a:spcAft>
                <a:buSzPct val="150000"/>
                <a:buFont typeface="Lucida Grande" pitchFamily="80" charset="0"/>
                <a:buChar char="•"/>
                <a:defRPr sz="2400">
                  <a:solidFill>
                    <a:schemeClr val="tx1"/>
                  </a:solidFill>
                  <a:latin typeface="+mn-lt"/>
                  <a:ea typeface="+mn-ea"/>
                  <a:sym typeface="Gill Sans" pitchFamily="80" charset="0"/>
                </a:defRPr>
              </a:lvl7pPr>
              <a:lvl8pPr marL="3416300" indent="-444500" algn="l" rtl="0" fontAlgn="base">
                <a:spcBef>
                  <a:spcPts val="1800"/>
                </a:spcBef>
                <a:spcAft>
                  <a:spcPct val="0"/>
                </a:spcAft>
                <a:buSzPct val="150000"/>
                <a:buFont typeface="Lucida Grande" pitchFamily="80" charset="0"/>
                <a:buChar char="•"/>
                <a:defRPr sz="2400">
                  <a:solidFill>
                    <a:schemeClr val="tx1"/>
                  </a:solidFill>
                  <a:latin typeface="+mn-lt"/>
                  <a:ea typeface="+mn-ea"/>
                  <a:sym typeface="Gill Sans" pitchFamily="80" charset="0"/>
                </a:defRPr>
              </a:lvl8pPr>
              <a:lvl9pPr marL="3873500" indent="-444500" algn="l" rtl="0" fontAlgn="base">
                <a:spcBef>
                  <a:spcPts val="1800"/>
                </a:spcBef>
                <a:spcAft>
                  <a:spcPct val="0"/>
                </a:spcAft>
                <a:buSzPct val="150000"/>
                <a:buFont typeface="Lucida Grande" pitchFamily="80" charset="0"/>
                <a:buChar char="•"/>
                <a:defRPr sz="2400">
                  <a:solidFill>
                    <a:schemeClr val="tx1"/>
                  </a:solidFill>
                  <a:latin typeface="+mn-lt"/>
                  <a:ea typeface="+mn-ea"/>
                  <a:sym typeface="Gill Sans" pitchFamily="80" charset="0"/>
                </a:defRPr>
              </a:lvl9pPr>
            </a:lstStyle>
            <a:p>
              <a:pPr marL="660400" marR="0" lvl="0" indent="-444500" algn="l" defTabSz="914400" rtl="0" eaLnBrk="0" fontAlgn="base" latinLnBrk="0" hangingPunct="0">
                <a:lnSpc>
                  <a:spcPct val="100000"/>
                </a:lnSpc>
                <a:spcBef>
                  <a:spcPts val="900"/>
                </a:spcBef>
                <a:spcAft>
                  <a:spcPct val="0"/>
                </a:spcAft>
                <a:buClr>
                  <a:srgbClr val="5F7BAE"/>
                </a:buClr>
                <a:buSzPct val="150000"/>
                <a:buFont typeface="Lucida Grande" pitchFamily="1" charset="0"/>
                <a:buChar char="•"/>
                <a:tabLst/>
                <a:defRPr/>
              </a:pPr>
              <a:r>
                <a:rPr kumimoji="0" lang="en-US" alt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Gill Sans" pitchFamily="1" charset="0"/>
                </a:rPr>
                <a:t>Define the features of the product</a:t>
              </a:r>
            </a:p>
            <a:p>
              <a:pPr marL="660400" marR="0" lvl="0" indent="-444500" algn="l" defTabSz="914400" rtl="0" eaLnBrk="0" fontAlgn="base" latinLnBrk="0" hangingPunct="0">
                <a:lnSpc>
                  <a:spcPct val="100000"/>
                </a:lnSpc>
                <a:spcBef>
                  <a:spcPts val="900"/>
                </a:spcBef>
                <a:spcAft>
                  <a:spcPct val="0"/>
                </a:spcAft>
                <a:buClr>
                  <a:srgbClr val="5F7BAE"/>
                </a:buClr>
                <a:buSzPct val="150000"/>
                <a:buFont typeface="Lucida Grande" pitchFamily="1" charset="0"/>
                <a:buChar char="•"/>
                <a:tabLst/>
                <a:defRPr/>
              </a:pPr>
              <a:r>
                <a:rPr kumimoji="0" lang="en-US" alt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Gill Sans" pitchFamily="1" charset="0"/>
                </a:rPr>
                <a:t>Decide on release date and content</a:t>
              </a:r>
            </a:p>
            <a:p>
              <a:pPr marL="660400" marR="0" lvl="0" indent="-444500" algn="l" defTabSz="914400" rtl="0" eaLnBrk="0" fontAlgn="base" latinLnBrk="0" hangingPunct="0">
                <a:lnSpc>
                  <a:spcPct val="100000"/>
                </a:lnSpc>
                <a:spcBef>
                  <a:spcPts val="900"/>
                </a:spcBef>
                <a:spcAft>
                  <a:spcPct val="0"/>
                </a:spcAft>
                <a:buClr>
                  <a:srgbClr val="5F7BAE"/>
                </a:buClr>
                <a:buSzPct val="150000"/>
                <a:buFont typeface="Lucida Grande" pitchFamily="1" charset="0"/>
                <a:buChar char="•"/>
                <a:tabLst/>
                <a:defRPr/>
              </a:pPr>
              <a:r>
                <a:rPr kumimoji="0" lang="en-US" alt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Gill Sans" pitchFamily="1" charset="0"/>
                </a:rPr>
                <a:t>Be responsible for the profitability of the product (ROI)</a:t>
              </a:r>
            </a:p>
            <a:p>
              <a:pPr marL="660400" marR="0" lvl="0" indent="-444500" algn="l" defTabSz="914400" rtl="0" eaLnBrk="0" fontAlgn="base" latinLnBrk="0" hangingPunct="0">
                <a:lnSpc>
                  <a:spcPct val="100000"/>
                </a:lnSpc>
                <a:spcBef>
                  <a:spcPts val="900"/>
                </a:spcBef>
                <a:spcAft>
                  <a:spcPct val="0"/>
                </a:spcAft>
                <a:buClr>
                  <a:srgbClr val="5F7BAE"/>
                </a:buClr>
                <a:buSzPct val="150000"/>
                <a:buFont typeface="Lucida Grande" pitchFamily="1" charset="0"/>
                <a:buChar char="•"/>
                <a:tabLst/>
                <a:defRPr/>
              </a:pPr>
              <a:r>
                <a:rPr kumimoji="0" lang="en-US" alt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Gill Sans" pitchFamily="1" charset="0"/>
                </a:rPr>
                <a:t>Prioritize features according to market value </a:t>
              </a:r>
            </a:p>
            <a:p>
              <a:pPr marL="660400" marR="0" lvl="0" indent="-444500" algn="l" defTabSz="914400" rtl="0" eaLnBrk="0" fontAlgn="base" latinLnBrk="0" hangingPunct="0">
                <a:lnSpc>
                  <a:spcPct val="100000"/>
                </a:lnSpc>
                <a:spcBef>
                  <a:spcPts val="900"/>
                </a:spcBef>
                <a:spcAft>
                  <a:spcPct val="0"/>
                </a:spcAft>
                <a:buClr>
                  <a:srgbClr val="5F7BAE"/>
                </a:buClr>
                <a:buSzPct val="150000"/>
                <a:buFont typeface="Lucida Grande" pitchFamily="1" charset="0"/>
                <a:buChar char="•"/>
                <a:tabLst/>
                <a:defRPr/>
              </a:pPr>
              <a:r>
                <a:rPr kumimoji="0" lang="en-US" alt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Gill Sans" pitchFamily="1" charset="0"/>
                </a:rPr>
                <a:t>Adjust features and priority every iteration, as needed  </a:t>
              </a:r>
            </a:p>
            <a:p>
              <a:pPr marL="660400" marR="0" lvl="0" indent="-444500" algn="l" defTabSz="914400" rtl="0" eaLnBrk="0" fontAlgn="base" latinLnBrk="0" hangingPunct="0">
                <a:lnSpc>
                  <a:spcPct val="100000"/>
                </a:lnSpc>
                <a:spcBef>
                  <a:spcPts val="900"/>
                </a:spcBef>
                <a:spcAft>
                  <a:spcPct val="0"/>
                </a:spcAft>
                <a:buClr>
                  <a:srgbClr val="5F7BAE"/>
                </a:buClr>
                <a:buSzPct val="150000"/>
                <a:buFont typeface="Lucida Grande" pitchFamily="1" charset="0"/>
                <a:buChar char="•"/>
                <a:tabLst/>
                <a:defRPr/>
              </a:pPr>
              <a:r>
                <a:rPr kumimoji="0" lang="en-US" alt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Gill Sans" pitchFamily="1" charset="0"/>
                </a:rPr>
                <a:t>Accept or reject work results</a:t>
              </a:r>
            </a:p>
            <a:p>
              <a:pPr marL="660400" marR="0" lvl="0" indent="-444500" algn="l" defTabSz="914400" rtl="0" eaLnBrk="0" fontAlgn="base" latinLnBrk="0" hangingPunct="0">
                <a:lnSpc>
                  <a:spcPct val="100000"/>
                </a:lnSpc>
                <a:spcBef>
                  <a:spcPts val="900"/>
                </a:spcBef>
                <a:spcAft>
                  <a:spcPct val="0"/>
                </a:spcAft>
                <a:buClr>
                  <a:srgbClr val="5F7BAE"/>
                </a:buClr>
                <a:buSzPct val="150000"/>
                <a:buFont typeface="Lucida Grande" pitchFamily="1" charset="0"/>
                <a:buChar char="•"/>
                <a:tabLst/>
                <a:defRPr/>
              </a:pPr>
              <a:r>
                <a:rPr lang="en-US" altLang="en-US" sz="2400" kern="0" dirty="0">
                  <a:solidFill>
                    <a:srgbClr val="000000"/>
                  </a:solidFill>
                </a:rPr>
                <a:t>Responsible for:</a:t>
              </a:r>
            </a:p>
            <a:p>
              <a:pPr lvl="1">
                <a:lnSpc>
                  <a:spcPct val="100000"/>
                </a:lnSpc>
                <a:spcBef>
                  <a:spcPts val="900"/>
                </a:spcBef>
                <a:buClr>
                  <a:srgbClr val="5F7BAE"/>
                </a:buClr>
                <a:defRPr/>
              </a:pPr>
              <a:r>
                <a:rPr kumimoji="0" lang="en-US" alt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Gill Sans" pitchFamily="1" charset="0"/>
                </a:rPr>
                <a:t>Product Vision</a:t>
              </a:r>
            </a:p>
            <a:p>
              <a:pPr lvl="1">
                <a:lnSpc>
                  <a:spcPct val="100000"/>
                </a:lnSpc>
                <a:spcBef>
                  <a:spcPts val="900"/>
                </a:spcBef>
                <a:buClr>
                  <a:srgbClr val="5F7BAE"/>
                </a:buClr>
                <a:defRPr/>
              </a:pPr>
              <a:r>
                <a:rPr lang="en-US" altLang="en-US" sz="2000" kern="0" dirty="0">
                  <a:solidFill>
                    <a:srgbClr val="000000"/>
                  </a:solidFill>
                </a:rPr>
                <a:t>Stakeholder management</a:t>
              </a:r>
            </a:p>
            <a:p>
              <a:pPr lvl="1">
                <a:lnSpc>
                  <a:spcPct val="100000"/>
                </a:lnSpc>
                <a:spcBef>
                  <a:spcPts val="900"/>
                </a:spcBef>
                <a:buClr>
                  <a:srgbClr val="5F7BAE"/>
                </a:buClr>
                <a:defRPr/>
              </a:pPr>
              <a:r>
                <a:rPr kumimoji="0" lang="en-US" alt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Gill Sans" pitchFamily="1" charset="0"/>
                </a:rPr>
                <a:t>Scope Management</a:t>
              </a:r>
            </a:p>
            <a:p>
              <a:pPr lvl="1">
                <a:lnSpc>
                  <a:spcPct val="100000"/>
                </a:lnSpc>
                <a:spcBef>
                  <a:spcPts val="900"/>
                </a:spcBef>
                <a:buClr>
                  <a:srgbClr val="5F7BAE"/>
                </a:buClr>
                <a:defRPr/>
              </a:pPr>
              <a:r>
                <a:rPr lang="en-US" altLang="en-US" sz="2000" kern="0" dirty="0">
                  <a:solidFill>
                    <a:srgbClr val="000000"/>
                  </a:solidFill>
                </a:rPr>
                <a:t>Cost Management</a:t>
              </a:r>
            </a:p>
            <a:p>
              <a:pPr lvl="1">
                <a:lnSpc>
                  <a:spcPct val="100000"/>
                </a:lnSpc>
                <a:spcBef>
                  <a:spcPts val="900"/>
                </a:spcBef>
                <a:buClr>
                  <a:srgbClr val="5F7BAE"/>
                </a:buClr>
                <a:defRPr/>
              </a:pPr>
              <a:r>
                <a:rPr kumimoji="0" lang="en-US" alt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Gill Sans" pitchFamily="1" charset="0"/>
                </a:rPr>
                <a:t>Monitoring</a:t>
              </a:r>
              <a:r>
                <a:rPr kumimoji="0" lang="en-US" altLang="en-US" sz="2000" b="0" i="0" u="none" strike="noStrike" kern="0" cap="none" spc="0" normalizeH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Gill Sans" pitchFamily="1" charset="0"/>
                </a:rPr>
                <a:t> Release progress</a:t>
              </a:r>
              <a:endParaRPr kumimoji="0" lang="en-US" alt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Gill Sans" pitchFamily="1" charset="0"/>
              </a:endParaRPr>
            </a:p>
            <a:p>
              <a:pPr marL="660400" marR="0" lvl="0" indent="-444500" algn="l" defTabSz="914400" rtl="0" eaLnBrk="0" fontAlgn="base" latinLnBrk="0" hangingPunct="0">
                <a:lnSpc>
                  <a:spcPct val="100000"/>
                </a:lnSpc>
                <a:spcBef>
                  <a:spcPts val="900"/>
                </a:spcBef>
                <a:spcAft>
                  <a:spcPct val="0"/>
                </a:spcAft>
                <a:buClr>
                  <a:srgbClr val="5F7BAE"/>
                </a:buClr>
                <a:buSzPct val="150000"/>
                <a:buFont typeface="Lucida Grande" pitchFamily="1" charset="0"/>
                <a:buChar char="•"/>
                <a:tabLst/>
                <a:defRPr/>
              </a:pPr>
              <a:endParaRPr kumimoji="0" lang="en-US" altLang="en-US" sz="3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"/>
                <a:sym typeface="Gill Sans" pitchFamily="1" charset="0"/>
              </a:endParaRPr>
            </a:p>
          </p:txBody>
        </p:sp>
        <p:pic>
          <p:nvPicPr>
            <p:cNvPr id="12" name="Picture 3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36477" y="129388"/>
              <a:ext cx="2102239" cy="16232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421142212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1"/>
          <p:cNvSpPr>
            <a:spLocks noGrp="1" noChangeArrowheads="1"/>
          </p:cNvSpPr>
          <p:nvPr>
            <p:ph type="title"/>
          </p:nvPr>
        </p:nvSpPr>
        <p:spPr>
          <a:xfrm>
            <a:off x="457200" y="304800"/>
            <a:ext cx="8229600" cy="1143000"/>
          </a:xfrm>
        </p:spPr>
        <p:txBody>
          <a:bodyPr>
            <a:normAutofit/>
          </a:bodyPr>
          <a:lstStyle/>
          <a:p>
            <a:pPr eaLnBrk="1" hangingPunct="1">
              <a:defRPr/>
            </a:pPr>
            <a:r>
              <a:rPr lang="en-US" sz="3200" dirty="0">
                <a:sym typeface="Gill Sans" charset="0"/>
              </a:rPr>
              <a:t>The </a:t>
            </a:r>
            <a:r>
              <a:rPr lang="en-US" sz="3200" dirty="0" err="1">
                <a:sym typeface="Gill Sans" charset="0"/>
              </a:rPr>
              <a:t>ScrumMaster</a:t>
            </a:r>
            <a:endParaRPr lang="en-US" sz="3200" dirty="0">
              <a:sym typeface="Gill Sans" charset="0"/>
            </a:endParaRPr>
          </a:p>
        </p:txBody>
      </p:sp>
      <p:sp>
        <p:nvSpPr>
          <p:cNvPr id="23555" name="Rectangle 2"/>
          <p:cNvSpPr>
            <a:spLocks noGrp="1" noChangeArrowheads="1"/>
          </p:cNvSpPr>
          <p:nvPr>
            <p:ph idx="1"/>
          </p:nvPr>
        </p:nvSpPr>
        <p:spPr>
          <a:xfrm>
            <a:off x="1172" y="875646"/>
            <a:ext cx="8515350" cy="4351337"/>
          </a:xfrm>
        </p:spPr>
        <p:txBody>
          <a:bodyPr>
            <a:noAutofit/>
          </a:bodyPr>
          <a:lstStyle/>
          <a:p>
            <a:pPr marL="628650">
              <a:lnSpc>
                <a:spcPct val="100000"/>
              </a:lnSpc>
              <a:buFont typeface="Lucida Grande" charset="0"/>
              <a:buChar char="•"/>
              <a:defRPr/>
            </a:pPr>
            <a:r>
              <a:rPr lang="en-US" sz="3000" dirty="0">
                <a:sym typeface="Gill Sans" charset="0"/>
              </a:rPr>
              <a:t>Responsible for facilitation of all ceremonies</a:t>
            </a:r>
          </a:p>
          <a:p>
            <a:pPr marL="628650">
              <a:lnSpc>
                <a:spcPct val="100000"/>
              </a:lnSpc>
              <a:spcBef>
                <a:spcPts val="990"/>
              </a:spcBef>
              <a:buFont typeface="Lucida Grande" charset="0"/>
              <a:buChar char="•"/>
              <a:defRPr/>
            </a:pPr>
            <a:r>
              <a:rPr lang="en-US" sz="3000" dirty="0">
                <a:sym typeface="Gill Sans" charset="0"/>
              </a:rPr>
              <a:t>Responsible for enacting Scrum values and practices</a:t>
            </a:r>
          </a:p>
          <a:p>
            <a:pPr marL="628650">
              <a:lnSpc>
                <a:spcPct val="100000"/>
              </a:lnSpc>
              <a:spcBef>
                <a:spcPts val="990"/>
              </a:spcBef>
              <a:buFont typeface="Lucida Grande" charset="0"/>
              <a:buChar char="•"/>
              <a:defRPr/>
            </a:pPr>
            <a:r>
              <a:rPr lang="en-US" sz="3000" dirty="0">
                <a:sym typeface="Gill Sans" charset="0"/>
              </a:rPr>
              <a:t>Removes impediments </a:t>
            </a:r>
          </a:p>
          <a:p>
            <a:pPr marL="628650">
              <a:lnSpc>
                <a:spcPct val="100000"/>
              </a:lnSpc>
              <a:spcBef>
                <a:spcPts val="990"/>
              </a:spcBef>
              <a:buFont typeface="Lucida Grande" charset="0"/>
              <a:buChar char="•"/>
              <a:defRPr/>
            </a:pPr>
            <a:r>
              <a:rPr lang="en-US" sz="3000" dirty="0">
                <a:sym typeface="Gill Sans" charset="0"/>
              </a:rPr>
              <a:t>Ensure that the team is fully functional and productive</a:t>
            </a:r>
          </a:p>
          <a:p>
            <a:pPr marL="628650">
              <a:lnSpc>
                <a:spcPct val="100000"/>
              </a:lnSpc>
              <a:spcBef>
                <a:spcPts val="990"/>
              </a:spcBef>
              <a:buFont typeface="Lucida Grande" charset="0"/>
              <a:buChar char="•"/>
              <a:defRPr/>
            </a:pPr>
            <a:r>
              <a:rPr lang="en-US" sz="3000" dirty="0">
                <a:sym typeface="Gill Sans" charset="0"/>
              </a:rPr>
              <a:t>Enable close cooperation across all roles and functions</a:t>
            </a:r>
          </a:p>
          <a:p>
            <a:pPr marL="628650">
              <a:lnSpc>
                <a:spcPct val="100000"/>
              </a:lnSpc>
              <a:spcBef>
                <a:spcPts val="990"/>
              </a:spcBef>
              <a:buFont typeface="Lucida Grande" charset="0"/>
              <a:buChar char="•"/>
              <a:defRPr/>
            </a:pPr>
            <a:r>
              <a:rPr lang="en-US" sz="3000" dirty="0">
                <a:sym typeface="Gill Sans" charset="0"/>
              </a:rPr>
              <a:t>Shield the team from external interferences</a:t>
            </a:r>
          </a:p>
        </p:txBody>
      </p:sp>
      <p:pic>
        <p:nvPicPr>
          <p:cNvPr id="43011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467600" y="337186"/>
            <a:ext cx="1276350" cy="10769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1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>
              <a:defRPr/>
            </a:pPr>
            <a:r>
              <a:rPr lang="en-US" sz="3200" dirty="0">
                <a:sym typeface="Gill Sans" charset="0"/>
              </a:rPr>
              <a:t>The team</a:t>
            </a:r>
          </a:p>
        </p:txBody>
      </p:sp>
      <p:sp>
        <p:nvSpPr>
          <p:cNvPr id="24579" name="Rectangle 2"/>
          <p:cNvSpPr>
            <a:spLocks noGrp="1" noChangeArrowheads="1"/>
          </p:cNvSpPr>
          <p:nvPr>
            <p:ph idx="1"/>
          </p:nvPr>
        </p:nvSpPr>
        <p:spPr>
          <a:xfrm>
            <a:off x="262890" y="1440180"/>
            <a:ext cx="8698230" cy="4572000"/>
          </a:xfrm>
        </p:spPr>
        <p:txBody>
          <a:bodyPr/>
          <a:lstStyle/>
          <a:p>
            <a:pPr marL="628650">
              <a:lnSpc>
                <a:spcPct val="90000"/>
              </a:lnSpc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Typically 5-9 people</a:t>
            </a:r>
          </a:p>
          <a:p>
            <a:pPr marL="628650">
              <a:lnSpc>
                <a:spcPct val="90000"/>
              </a:lnSpc>
              <a:spcBef>
                <a:spcPts val="1260"/>
              </a:spcBef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Cross-functional:</a:t>
            </a:r>
          </a:p>
          <a:p>
            <a:pPr marL="937260" lvl="1">
              <a:lnSpc>
                <a:spcPct val="90000"/>
              </a:lnSpc>
              <a:spcBef>
                <a:spcPts val="1260"/>
              </a:spcBef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Programmers, testers, user experience designers, etc.</a:t>
            </a:r>
          </a:p>
          <a:p>
            <a:pPr marL="628650">
              <a:lnSpc>
                <a:spcPct val="90000"/>
              </a:lnSpc>
              <a:spcBef>
                <a:spcPts val="1260"/>
              </a:spcBef>
              <a:buFont typeface="Lucida Grande" charset="0"/>
              <a:buChar char="•"/>
              <a:defRPr/>
            </a:pPr>
            <a:r>
              <a:rPr lang="en-US" sz="2800" dirty="0">
                <a:sym typeface="Gill Sans" charset="0"/>
              </a:rPr>
              <a:t>M</a:t>
            </a:r>
            <a:r>
              <a:rPr lang="en-US" dirty="0">
                <a:sym typeface="Gill Sans" charset="0"/>
              </a:rPr>
              <a:t>embers should be full-time</a:t>
            </a:r>
          </a:p>
          <a:p>
            <a:pPr marL="937260" lvl="2">
              <a:lnSpc>
                <a:spcPct val="90000"/>
              </a:lnSpc>
              <a:spcBef>
                <a:spcPts val="1260"/>
              </a:spcBef>
              <a:buClr>
                <a:srgbClr val="5F7BAE"/>
              </a:buClr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May be exceptions (e.g., database administrator)</a:t>
            </a:r>
          </a:p>
        </p:txBody>
      </p:sp>
      <p:grpSp>
        <p:nvGrpSpPr>
          <p:cNvPr id="2" name="Group 3"/>
          <p:cNvGrpSpPr>
            <a:grpSpLocks/>
          </p:cNvGrpSpPr>
          <p:nvPr/>
        </p:nvGrpSpPr>
        <p:grpSpPr bwMode="auto">
          <a:xfrm>
            <a:off x="5867400" y="396821"/>
            <a:ext cx="2434590" cy="1924527"/>
            <a:chOff x="0" y="0"/>
            <a:chExt cx="1704" cy="1346"/>
          </a:xfrm>
        </p:grpSpPr>
        <p:pic>
          <p:nvPicPr>
            <p:cNvPr id="45060" name="Picture 4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908" y="453"/>
              <a:ext cx="507" cy="4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3" name="Group 5"/>
            <p:cNvGrpSpPr>
              <a:grpSpLocks/>
            </p:cNvGrpSpPr>
            <p:nvPr/>
          </p:nvGrpSpPr>
          <p:grpSpPr bwMode="auto">
            <a:xfrm>
              <a:off x="0" y="0"/>
              <a:ext cx="1704" cy="1346"/>
              <a:chOff x="0" y="0"/>
              <a:chExt cx="1704" cy="1346"/>
            </a:xfrm>
          </p:grpSpPr>
          <p:grpSp>
            <p:nvGrpSpPr>
              <p:cNvPr id="4" name="Group 6"/>
              <p:cNvGrpSpPr>
                <a:grpSpLocks/>
              </p:cNvGrpSpPr>
              <p:nvPr/>
            </p:nvGrpSpPr>
            <p:grpSpPr bwMode="auto">
              <a:xfrm>
                <a:off x="0" y="0"/>
                <a:ext cx="1704" cy="440"/>
                <a:chOff x="0" y="0"/>
                <a:chExt cx="1704" cy="440"/>
              </a:xfrm>
            </p:grpSpPr>
            <p:pic>
              <p:nvPicPr>
                <p:cNvPr id="45068" name="Picture 7"/>
                <p:cNvPicPr>
                  <a:picLocks noChangeAspect="1" noChangeArrowheads="1"/>
                </p:cNvPicPr>
                <p:nvPr/>
              </p:nvPicPr>
              <p:blipFill>
                <a:blip r:embed="rId4" cstate="print"/>
                <a:srcRect/>
                <a:stretch>
                  <a:fillRect/>
                </a:stretch>
              </p:blipFill>
              <p:spPr bwMode="auto">
                <a:xfrm>
                  <a:off x="0" y="0"/>
                  <a:ext cx="507" cy="44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45069" name="Picture 8"/>
                <p:cNvPicPr>
                  <a:picLocks noChangeAspect="1" noChangeArrowheads="1"/>
                </p:cNvPicPr>
                <p:nvPr/>
              </p:nvPicPr>
              <p:blipFill>
                <a:blip r:embed="rId5" cstate="print"/>
                <a:srcRect/>
                <a:stretch>
                  <a:fillRect/>
                </a:stretch>
              </p:blipFill>
              <p:spPr bwMode="auto">
                <a:xfrm>
                  <a:off x="598" y="0"/>
                  <a:ext cx="507" cy="44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45070" name="Picture 9"/>
                <p:cNvPicPr>
                  <a:picLocks noChangeAspect="1" noChangeArrowheads="1"/>
                </p:cNvPicPr>
                <p:nvPr/>
              </p:nvPicPr>
              <p:blipFill>
                <a:blip r:embed="rId4" cstate="print"/>
                <a:srcRect/>
                <a:stretch>
                  <a:fillRect/>
                </a:stretch>
              </p:blipFill>
              <p:spPr bwMode="auto">
                <a:xfrm>
                  <a:off x="1196" y="0"/>
                  <a:ext cx="508" cy="44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  <p:pic>
            <p:nvPicPr>
              <p:cNvPr id="45063" name="Picture 10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340" y="469"/>
                <a:ext cx="507" cy="41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grpSp>
            <p:nvGrpSpPr>
              <p:cNvPr id="5" name="Group 11"/>
              <p:cNvGrpSpPr>
                <a:grpSpLocks/>
              </p:cNvGrpSpPr>
              <p:nvPr/>
            </p:nvGrpSpPr>
            <p:grpSpPr bwMode="auto">
              <a:xfrm>
                <a:off x="0" y="906"/>
                <a:ext cx="1704" cy="440"/>
                <a:chOff x="0" y="0"/>
                <a:chExt cx="1704" cy="440"/>
              </a:xfrm>
            </p:grpSpPr>
            <p:pic>
              <p:nvPicPr>
                <p:cNvPr id="45065" name="Picture 12"/>
                <p:cNvPicPr>
                  <a:picLocks noChangeAspect="1" noChangeArrowheads="1"/>
                </p:cNvPicPr>
                <p:nvPr/>
              </p:nvPicPr>
              <p:blipFill>
                <a:blip r:embed="rId6" cstate="print"/>
                <a:srcRect/>
                <a:stretch>
                  <a:fillRect/>
                </a:stretch>
              </p:blipFill>
              <p:spPr bwMode="auto">
                <a:xfrm>
                  <a:off x="0" y="16"/>
                  <a:ext cx="507" cy="41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45066" name="Picture 13"/>
                <p:cNvPicPr>
                  <a:picLocks noChangeAspect="1" noChangeArrowheads="1"/>
                </p:cNvPicPr>
                <p:nvPr/>
              </p:nvPicPr>
              <p:blipFill>
                <a:blip r:embed="rId7" cstate="print"/>
                <a:srcRect/>
                <a:stretch>
                  <a:fillRect/>
                </a:stretch>
              </p:blipFill>
              <p:spPr bwMode="auto">
                <a:xfrm>
                  <a:off x="1196" y="0"/>
                  <a:ext cx="508" cy="44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45067" name="Picture 14"/>
                <p:cNvPicPr>
                  <a:picLocks noChangeAspect="1" noChangeArrowheads="1"/>
                </p:cNvPicPr>
                <p:nvPr/>
              </p:nvPicPr>
              <p:blipFill>
                <a:blip r:embed="rId3" cstate="print"/>
                <a:srcRect/>
                <a:stretch>
                  <a:fillRect/>
                </a:stretch>
              </p:blipFill>
              <p:spPr bwMode="auto">
                <a:xfrm>
                  <a:off x="598" y="0"/>
                  <a:ext cx="507" cy="44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</p:grpSp>
      </p:grpSp>
    </p:spTree>
  </p:cSld>
  <p:clrMapOvr>
    <a:masterClrMapping/>
  </p:clrMapOvr>
  <p:transition spd="med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1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>
              <a:defRPr/>
            </a:pPr>
            <a:r>
              <a:rPr lang="en-US" sz="3200" dirty="0">
                <a:sym typeface="Gill Sans" charset="0"/>
              </a:rPr>
              <a:t>The team</a:t>
            </a:r>
          </a:p>
        </p:txBody>
      </p:sp>
      <p:sp>
        <p:nvSpPr>
          <p:cNvPr id="25603" name="Rectangle 2"/>
          <p:cNvSpPr>
            <a:spLocks noGrp="1" noChangeArrowheads="1"/>
          </p:cNvSpPr>
          <p:nvPr>
            <p:ph idx="1"/>
          </p:nvPr>
        </p:nvSpPr>
        <p:spPr>
          <a:xfrm>
            <a:off x="262890" y="1440180"/>
            <a:ext cx="8698230" cy="4572000"/>
          </a:xfrm>
        </p:spPr>
        <p:txBody>
          <a:bodyPr/>
          <a:lstStyle/>
          <a:p>
            <a:pPr marL="628650">
              <a:lnSpc>
                <a:spcPct val="90000"/>
              </a:lnSpc>
              <a:spcBef>
                <a:spcPts val="1260"/>
              </a:spcBef>
              <a:buFont typeface="Lucida Grande" charset="0"/>
              <a:buChar char="•"/>
              <a:defRPr/>
            </a:pPr>
            <a:endParaRPr lang="en-US" dirty="0">
              <a:sym typeface="Gill Sans" charset="0"/>
            </a:endParaRPr>
          </a:p>
          <a:p>
            <a:pPr marL="628650">
              <a:lnSpc>
                <a:spcPct val="90000"/>
              </a:lnSpc>
              <a:spcBef>
                <a:spcPts val="1260"/>
              </a:spcBef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Teams are self-organizing</a:t>
            </a:r>
          </a:p>
          <a:p>
            <a:pPr marL="937260" lvl="1">
              <a:lnSpc>
                <a:spcPct val="90000"/>
              </a:lnSpc>
              <a:spcBef>
                <a:spcPts val="1260"/>
              </a:spcBef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Ideally, no titles but rarely a possibility</a:t>
            </a:r>
          </a:p>
          <a:p>
            <a:pPr marL="628650">
              <a:lnSpc>
                <a:spcPct val="90000"/>
              </a:lnSpc>
              <a:spcBef>
                <a:spcPts val="1260"/>
              </a:spcBef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Membership should change only between sprints</a:t>
            </a:r>
          </a:p>
        </p:txBody>
      </p:sp>
      <p:grpSp>
        <p:nvGrpSpPr>
          <p:cNvPr id="2" name="Group 3"/>
          <p:cNvGrpSpPr>
            <a:grpSpLocks/>
          </p:cNvGrpSpPr>
          <p:nvPr/>
        </p:nvGrpSpPr>
        <p:grpSpPr bwMode="auto">
          <a:xfrm>
            <a:off x="5892165" y="520065"/>
            <a:ext cx="2434590" cy="1924527"/>
            <a:chOff x="0" y="0"/>
            <a:chExt cx="1704" cy="1346"/>
          </a:xfrm>
        </p:grpSpPr>
        <p:pic>
          <p:nvPicPr>
            <p:cNvPr id="47108" name="Picture 4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908" y="453"/>
              <a:ext cx="507" cy="4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3" name="Group 5"/>
            <p:cNvGrpSpPr>
              <a:grpSpLocks/>
            </p:cNvGrpSpPr>
            <p:nvPr/>
          </p:nvGrpSpPr>
          <p:grpSpPr bwMode="auto">
            <a:xfrm>
              <a:off x="0" y="0"/>
              <a:ext cx="1704" cy="1346"/>
              <a:chOff x="0" y="0"/>
              <a:chExt cx="1704" cy="1346"/>
            </a:xfrm>
          </p:grpSpPr>
          <p:grpSp>
            <p:nvGrpSpPr>
              <p:cNvPr id="4" name="Group 6"/>
              <p:cNvGrpSpPr>
                <a:grpSpLocks/>
              </p:cNvGrpSpPr>
              <p:nvPr/>
            </p:nvGrpSpPr>
            <p:grpSpPr bwMode="auto">
              <a:xfrm>
                <a:off x="0" y="0"/>
                <a:ext cx="1704" cy="440"/>
                <a:chOff x="0" y="0"/>
                <a:chExt cx="1704" cy="440"/>
              </a:xfrm>
            </p:grpSpPr>
            <p:pic>
              <p:nvPicPr>
                <p:cNvPr id="47116" name="Picture 7"/>
                <p:cNvPicPr>
                  <a:picLocks noChangeAspect="1" noChangeArrowheads="1"/>
                </p:cNvPicPr>
                <p:nvPr/>
              </p:nvPicPr>
              <p:blipFill>
                <a:blip r:embed="rId4" cstate="print"/>
                <a:srcRect/>
                <a:stretch>
                  <a:fillRect/>
                </a:stretch>
              </p:blipFill>
              <p:spPr bwMode="auto">
                <a:xfrm>
                  <a:off x="0" y="0"/>
                  <a:ext cx="507" cy="44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47117" name="Picture 8"/>
                <p:cNvPicPr>
                  <a:picLocks noChangeAspect="1" noChangeArrowheads="1"/>
                </p:cNvPicPr>
                <p:nvPr/>
              </p:nvPicPr>
              <p:blipFill>
                <a:blip r:embed="rId5" cstate="print"/>
                <a:srcRect/>
                <a:stretch>
                  <a:fillRect/>
                </a:stretch>
              </p:blipFill>
              <p:spPr bwMode="auto">
                <a:xfrm>
                  <a:off x="598" y="0"/>
                  <a:ext cx="507" cy="44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47118" name="Picture 9"/>
                <p:cNvPicPr>
                  <a:picLocks noChangeAspect="1" noChangeArrowheads="1"/>
                </p:cNvPicPr>
                <p:nvPr/>
              </p:nvPicPr>
              <p:blipFill>
                <a:blip r:embed="rId4" cstate="print"/>
                <a:srcRect/>
                <a:stretch>
                  <a:fillRect/>
                </a:stretch>
              </p:blipFill>
              <p:spPr bwMode="auto">
                <a:xfrm>
                  <a:off x="1196" y="0"/>
                  <a:ext cx="508" cy="44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  <p:pic>
            <p:nvPicPr>
              <p:cNvPr id="47111" name="Picture 10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340" y="469"/>
                <a:ext cx="507" cy="41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grpSp>
            <p:nvGrpSpPr>
              <p:cNvPr id="5" name="Group 11"/>
              <p:cNvGrpSpPr>
                <a:grpSpLocks/>
              </p:cNvGrpSpPr>
              <p:nvPr/>
            </p:nvGrpSpPr>
            <p:grpSpPr bwMode="auto">
              <a:xfrm>
                <a:off x="0" y="906"/>
                <a:ext cx="1704" cy="440"/>
                <a:chOff x="0" y="0"/>
                <a:chExt cx="1704" cy="440"/>
              </a:xfrm>
            </p:grpSpPr>
            <p:pic>
              <p:nvPicPr>
                <p:cNvPr id="47113" name="Picture 12"/>
                <p:cNvPicPr>
                  <a:picLocks noChangeAspect="1" noChangeArrowheads="1"/>
                </p:cNvPicPr>
                <p:nvPr/>
              </p:nvPicPr>
              <p:blipFill>
                <a:blip r:embed="rId6" cstate="print"/>
                <a:srcRect/>
                <a:stretch>
                  <a:fillRect/>
                </a:stretch>
              </p:blipFill>
              <p:spPr bwMode="auto">
                <a:xfrm>
                  <a:off x="0" y="16"/>
                  <a:ext cx="507" cy="41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47114" name="Picture 13"/>
                <p:cNvPicPr>
                  <a:picLocks noChangeAspect="1" noChangeArrowheads="1"/>
                </p:cNvPicPr>
                <p:nvPr/>
              </p:nvPicPr>
              <p:blipFill>
                <a:blip r:embed="rId7" cstate="print"/>
                <a:srcRect/>
                <a:stretch>
                  <a:fillRect/>
                </a:stretch>
              </p:blipFill>
              <p:spPr bwMode="auto">
                <a:xfrm>
                  <a:off x="1196" y="0"/>
                  <a:ext cx="508" cy="44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47115" name="Picture 14"/>
                <p:cNvPicPr>
                  <a:picLocks noChangeAspect="1" noChangeArrowheads="1"/>
                </p:cNvPicPr>
                <p:nvPr/>
              </p:nvPicPr>
              <p:blipFill>
                <a:blip r:embed="rId3" cstate="print"/>
                <a:srcRect/>
                <a:stretch>
                  <a:fillRect/>
                </a:stretch>
              </p:blipFill>
              <p:spPr bwMode="auto">
                <a:xfrm>
                  <a:off x="598" y="0"/>
                  <a:ext cx="507" cy="44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</p:grpSp>
      </p:grpSp>
    </p:spTree>
  </p:cSld>
  <p:clrMapOvr>
    <a:masterClrMapping/>
  </p:clrMapOvr>
  <p:transition spd="med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52400" y="730279"/>
            <a:ext cx="8673288" cy="591444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28755" indent="-285750">
              <a:spcAft>
                <a:spcPts val="700"/>
              </a:spcAft>
              <a:buFont typeface="Arial"/>
              <a:buChar char="•"/>
            </a:pPr>
            <a:r>
              <a:rPr lang="en-US" sz="2000" dirty="0"/>
              <a:t>For a Story to be “Ready”, following criteria have to be met</a:t>
            </a:r>
          </a:p>
          <a:p>
            <a:pPr marL="785955" lvl="1" indent="-285750">
              <a:spcAft>
                <a:spcPts val="700"/>
              </a:spcAft>
              <a:buFont typeface="Arial"/>
              <a:buChar char="•"/>
            </a:pPr>
            <a:r>
              <a:rPr lang="en-US" sz="2000" dirty="0"/>
              <a:t>The story should reasonably show INVEST characteristics</a:t>
            </a:r>
          </a:p>
          <a:p>
            <a:pPr marL="1243155" lvl="2" indent="-285750">
              <a:spcAft>
                <a:spcPts val="700"/>
              </a:spcAft>
            </a:pPr>
            <a:r>
              <a:rPr lang="en-US" sz="2000" b="1" dirty="0"/>
              <a:t>I </a:t>
            </a:r>
            <a:r>
              <a:rPr lang="en-US" sz="2000" dirty="0"/>
              <a:t>– Independent / Immediately actionable</a:t>
            </a:r>
          </a:p>
          <a:p>
            <a:pPr marL="1243155" lvl="2" indent="-285750">
              <a:spcAft>
                <a:spcPts val="700"/>
              </a:spcAft>
            </a:pPr>
            <a:r>
              <a:rPr lang="en-US" sz="2000" b="1" dirty="0"/>
              <a:t>N</a:t>
            </a:r>
            <a:r>
              <a:rPr lang="en-US" sz="2000" dirty="0"/>
              <a:t> – Negotiable</a:t>
            </a:r>
          </a:p>
          <a:p>
            <a:pPr marL="1243155" lvl="2" indent="-285750">
              <a:spcAft>
                <a:spcPts val="700"/>
              </a:spcAft>
            </a:pPr>
            <a:r>
              <a:rPr lang="en-US" sz="2000" b="1" dirty="0"/>
              <a:t>V </a:t>
            </a:r>
            <a:r>
              <a:rPr lang="en-US" sz="2000" dirty="0"/>
              <a:t>– Valuable to the customer, user or product</a:t>
            </a:r>
          </a:p>
          <a:p>
            <a:pPr marL="1243155" lvl="2" indent="-285750">
              <a:spcAft>
                <a:spcPts val="700"/>
              </a:spcAft>
            </a:pPr>
            <a:r>
              <a:rPr lang="en-US" sz="2000" b="1" dirty="0"/>
              <a:t>E </a:t>
            </a:r>
            <a:r>
              <a:rPr lang="en-US" sz="2000" dirty="0"/>
              <a:t>– Estimable</a:t>
            </a:r>
          </a:p>
          <a:p>
            <a:pPr marL="1243155" lvl="2" indent="-285750">
              <a:spcAft>
                <a:spcPts val="700"/>
              </a:spcAft>
            </a:pPr>
            <a:r>
              <a:rPr lang="en-US" sz="2000" b="1" dirty="0"/>
              <a:t>S </a:t>
            </a:r>
            <a:r>
              <a:rPr lang="en-US" sz="2000" dirty="0"/>
              <a:t>– Sized to fit</a:t>
            </a:r>
          </a:p>
          <a:p>
            <a:pPr marL="1243155" lvl="2" indent="-285750">
              <a:spcAft>
                <a:spcPts val="700"/>
              </a:spcAft>
            </a:pPr>
            <a:r>
              <a:rPr lang="en-US" sz="2000" b="1" dirty="0"/>
              <a:t>T </a:t>
            </a:r>
            <a:r>
              <a:rPr lang="en-US" sz="2000" dirty="0"/>
              <a:t>– Testable</a:t>
            </a:r>
          </a:p>
          <a:p>
            <a:pPr marL="785955" lvl="1" indent="-285750">
              <a:spcAft>
                <a:spcPts val="700"/>
              </a:spcAft>
              <a:buFont typeface="Arial"/>
              <a:buChar char="•"/>
            </a:pPr>
            <a:r>
              <a:rPr lang="en-US" sz="2000" dirty="0"/>
              <a:t>The business implications of the story have been discussed, any impacts to finance, customer care have been addressed</a:t>
            </a:r>
          </a:p>
          <a:p>
            <a:pPr marL="785955" lvl="1" indent="-285750">
              <a:spcAft>
                <a:spcPts val="700"/>
              </a:spcAft>
              <a:buFont typeface="Arial"/>
              <a:buChar char="•"/>
            </a:pPr>
            <a:r>
              <a:rPr lang="en-US" sz="2000" dirty="0"/>
              <a:t>The User Interaction Design is ready (At the very least wireframes covering all interactions of the story should be available)</a:t>
            </a:r>
          </a:p>
          <a:p>
            <a:pPr marL="785955" lvl="1" indent="-285750">
              <a:spcAft>
                <a:spcPts val="700"/>
              </a:spcAft>
              <a:buFont typeface="Arial"/>
              <a:buChar char="•"/>
            </a:pPr>
            <a:r>
              <a:rPr lang="en-US" sz="2000" dirty="0"/>
              <a:t>Any design assets needed for the story have been prepared to a reasonable degree (PSDs for some if not all pages in the Story should be available)</a:t>
            </a:r>
          </a:p>
        </p:txBody>
      </p:sp>
      <p:sp>
        <p:nvSpPr>
          <p:cNvPr id="5" name="Rectangle 1"/>
          <p:cNvSpPr txBox="1">
            <a:spLocks noChangeArrowheads="1"/>
          </p:cNvSpPr>
          <p:nvPr/>
        </p:nvSpPr>
        <p:spPr bwMode="auto">
          <a:xfrm>
            <a:off x="318312" y="-76200"/>
            <a:ext cx="9009462" cy="106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+mj-lt"/>
                <a:ea typeface="+mj-ea"/>
                <a:cs typeface="ヒラギノ角ゴ Pro W3" charset="0"/>
                <a:sym typeface="Gill Sans" pitchFamily="1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9pPr>
          </a:lstStyle>
          <a:p>
            <a:pPr lvl="0" eaLnBrk="1" hangingPunct="1">
              <a:lnSpc>
                <a:spcPct val="100000"/>
              </a:lnSpc>
              <a:defRPr/>
            </a:pPr>
            <a:r>
              <a:rPr lang="en-US" sz="3200" kern="0" dirty="0">
                <a:sym typeface="Gill Sans" charset="0"/>
              </a:rPr>
              <a:t>Agreement - Definition </a:t>
            </a:r>
            <a:r>
              <a: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rgbClr val="5F7BAE"/>
                </a:solidFill>
                <a:effectLst/>
                <a:uLnTx/>
                <a:uFillTx/>
                <a:sym typeface="Gill Sans" charset="0"/>
              </a:rPr>
              <a:t>of “Ready”</a:t>
            </a:r>
            <a:r>
              <a:rPr kumimoji="0" lang="en-US" sz="3200" b="0" i="0" u="none" strike="noStrike" kern="0" cap="none" spc="0" normalizeH="0" noProof="0" dirty="0">
                <a:ln>
                  <a:noFill/>
                </a:ln>
                <a:solidFill>
                  <a:srgbClr val="5F7BAE"/>
                </a:solidFill>
                <a:effectLst/>
                <a:uLnTx/>
                <a:uFillTx/>
                <a:sym typeface="Gill Sans" charset="0"/>
              </a:rPr>
              <a:t> (</a:t>
            </a:r>
            <a:r>
              <a:rPr kumimoji="0" lang="en-US" sz="3200" b="0" i="0" u="none" strike="noStrike" kern="0" cap="none" spc="0" normalizeH="0" noProof="0" dirty="0" err="1">
                <a:ln>
                  <a:noFill/>
                </a:ln>
                <a:solidFill>
                  <a:srgbClr val="5F7BAE"/>
                </a:solidFill>
                <a:effectLst/>
                <a:uLnTx/>
                <a:uFillTx/>
                <a:sym typeface="Gill Sans" charset="0"/>
              </a:rPr>
              <a:t>DoR</a:t>
            </a:r>
            <a:r>
              <a:rPr kumimoji="0" lang="en-US" sz="3200" b="0" i="0" u="none" strike="noStrike" kern="0" cap="none" spc="0" normalizeH="0" noProof="0" dirty="0">
                <a:ln>
                  <a:noFill/>
                </a:ln>
                <a:solidFill>
                  <a:srgbClr val="5F7BAE"/>
                </a:solidFill>
                <a:effectLst/>
                <a:uLnTx/>
                <a:uFillTx/>
                <a:sym typeface="Gill Sans" charset="0"/>
              </a:rPr>
              <a:t>)</a:t>
            </a:r>
            <a:endParaRPr kumimoji="0" lang="en-US" sz="3200" b="0" i="0" u="none" strike="noStrike" kern="0" cap="none" spc="0" normalizeH="0" baseline="0" noProof="0" dirty="0">
              <a:ln>
                <a:noFill/>
              </a:ln>
              <a:solidFill>
                <a:srgbClr val="5F7BAE"/>
              </a:solidFill>
              <a:effectLst/>
              <a:uLnTx/>
              <a:uFillTx/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027288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Grp="1" noChangeArrowheads="1"/>
          </p:cNvSpPr>
          <p:nvPr/>
        </p:nvSpPr>
        <p:spPr bwMode="auto">
          <a:xfrm>
            <a:off x="311934" y="1077445"/>
            <a:ext cx="8472024" cy="5229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488" tIns="44450" rIns="90488" bIns="44450" numCol="1" anchor="t" anchorCtr="0" compatLnSpc="1">
            <a:prstTxWarp prst="textNoShape">
              <a:avLst/>
            </a:prstTxWarp>
          </a:bodyPr>
          <a:lstStyle>
            <a:lvl1pPr marL="192088" indent="-192088" algn="l" defTabSz="762000" rtl="0" eaLnBrk="0" fontAlgn="base" hangingPunct="0">
              <a:spcBef>
                <a:spcPct val="15000"/>
              </a:spcBef>
              <a:spcAft>
                <a:spcPct val="1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66750" indent="-195263" algn="l" defTabSz="762000" rtl="0" eaLnBrk="0" fontAlgn="base" hangingPunct="0">
              <a:spcBef>
                <a:spcPct val="15000"/>
              </a:spcBef>
              <a:spcAft>
                <a:spcPct val="15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1147763" indent="-195263" algn="l" defTabSz="762000" rtl="0" eaLnBrk="0" fontAlgn="base" hangingPunct="0">
              <a:spcBef>
                <a:spcPct val="15000"/>
              </a:spcBef>
              <a:spcAft>
                <a:spcPct val="15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3pPr>
            <a:lvl4pPr marL="1712913" indent="-185738" algn="l" defTabSz="762000" rtl="0" eaLnBrk="0" fontAlgn="base" hangingPunct="0">
              <a:spcBef>
                <a:spcPct val="15000"/>
              </a:spcBef>
              <a:spcAft>
                <a:spcPct val="15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4pPr>
            <a:lvl5pPr marL="2193925" indent="-188913" algn="l" defTabSz="762000" rtl="0" eaLnBrk="0" fontAlgn="base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2651125" indent="-188913" algn="l" defTabSz="762000" rtl="0" eaLnBrk="0" fontAlgn="base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3108325" indent="-188913" algn="l" defTabSz="762000" rtl="0" eaLnBrk="0" fontAlgn="base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3565525" indent="-188913" algn="l" defTabSz="762000" rtl="0" eaLnBrk="0" fontAlgn="base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4022725" indent="-188913" algn="l" defTabSz="762000" rtl="0" eaLnBrk="0" fontAlgn="base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90000"/>
              </a:lnSpc>
              <a:buClrTx/>
            </a:pPr>
            <a:r>
              <a:rPr lang="en-US" altLang="en-US" dirty="0"/>
              <a:t>Definition of Done must describe exactly what “done” means</a:t>
            </a:r>
          </a:p>
          <a:p>
            <a:pPr lvl="1">
              <a:lnSpc>
                <a:spcPct val="90000"/>
              </a:lnSpc>
              <a:buClrTx/>
            </a:pPr>
            <a:r>
              <a:rPr lang="en-US" altLang="en-US" dirty="0"/>
              <a:t>Product Owner must pay careful attention when defining the DoD</a:t>
            </a:r>
          </a:p>
          <a:p>
            <a:pPr lvl="1">
              <a:lnSpc>
                <a:spcPct val="90000"/>
              </a:lnSpc>
              <a:buClrTx/>
            </a:pPr>
            <a:r>
              <a:rPr lang="en-US" altLang="en-US" dirty="0"/>
              <a:t>The scrum team must challenge the DoD, if necessary</a:t>
            </a:r>
          </a:p>
          <a:p>
            <a:pPr lvl="1">
              <a:lnSpc>
                <a:spcPct val="90000"/>
              </a:lnSpc>
              <a:buClrTx/>
            </a:pPr>
            <a:r>
              <a:rPr lang="en-US" altLang="en-US" i="1" dirty="0"/>
              <a:t>“What’s not in DoD, is not needed”</a:t>
            </a:r>
          </a:p>
          <a:p>
            <a:pPr lvl="1">
              <a:lnSpc>
                <a:spcPct val="90000"/>
              </a:lnSpc>
              <a:buClrTx/>
            </a:pPr>
            <a:r>
              <a:rPr lang="en-US" altLang="en-US" dirty="0"/>
              <a:t>Item is either “</a:t>
            </a:r>
            <a:r>
              <a:rPr lang="en-US" altLang="en-US" i="1" dirty="0"/>
              <a:t>done” </a:t>
            </a:r>
            <a:r>
              <a:rPr lang="en-US" altLang="en-US" dirty="0"/>
              <a:t>or “</a:t>
            </a:r>
            <a:r>
              <a:rPr lang="en-US" altLang="en-US" i="1" dirty="0"/>
              <a:t>not done”</a:t>
            </a:r>
          </a:p>
          <a:p>
            <a:pPr>
              <a:lnSpc>
                <a:spcPct val="90000"/>
              </a:lnSpc>
            </a:pPr>
            <a:r>
              <a:rPr lang="en-US" altLang="en-US" dirty="0"/>
              <a:t>Example:</a:t>
            </a:r>
          </a:p>
          <a:p>
            <a:pPr lvl="1">
              <a:lnSpc>
                <a:spcPct val="90000"/>
              </a:lnSpc>
              <a:buClrTx/>
            </a:pPr>
            <a:r>
              <a:rPr lang="en-US" altLang="en-US" dirty="0"/>
              <a:t>Story: Picture upload</a:t>
            </a:r>
          </a:p>
          <a:p>
            <a:pPr lvl="2">
              <a:lnSpc>
                <a:spcPct val="90000"/>
              </a:lnSpc>
              <a:buClrTx/>
            </a:pPr>
            <a:r>
              <a:rPr lang="en-US" altLang="en-US" dirty="0"/>
              <a:t>end user can upload his/her picture from profile settings page</a:t>
            </a:r>
          </a:p>
          <a:p>
            <a:pPr lvl="2">
              <a:lnSpc>
                <a:spcPct val="90000"/>
              </a:lnSpc>
              <a:buClrTx/>
            </a:pPr>
            <a:r>
              <a:rPr lang="en-US" altLang="en-US" dirty="0"/>
              <a:t>picture is shown on the left upper corner of the profile page</a:t>
            </a:r>
          </a:p>
          <a:p>
            <a:pPr lvl="2">
              <a:lnSpc>
                <a:spcPct val="90000"/>
              </a:lnSpc>
              <a:buClrTx/>
            </a:pPr>
            <a:r>
              <a:rPr lang="en-US" altLang="en-US" dirty="0"/>
              <a:t>picture is scaled to fit the profile picture box on the profile page</a:t>
            </a:r>
          </a:p>
          <a:p>
            <a:pPr lvl="2">
              <a:lnSpc>
                <a:spcPct val="90000"/>
              </a:lnSpc>
              <a:buClrTx/>
            </a:pPr>
            <a:r>
              <a:rPr lang="en-US" altLang="en-US" dirty="0"/>
              <a:t>functional tests are passed</a:t>
            </a:r>
          </a:p>
          <a:p>
            <a:pPr lvl="2">
              <a:lnSpc>
                <a:spcPct val="90000"/>
              </a:lnSpc>
              <a:buClrTx/>
            </a:pPr>
            <a:r>
              <a:rPr lang="en-US" altLang="en-US" dirty="0"/>
              <a:t>regression tests are passed</a:t>
            </a:r>
          </a:p>
          <a:p>
            <a:pPr lvl="2">
              <a:lnSpc>
                <a:spcPct val="90000"/>
              </a:lnSpc>
              <a:buClrTx/>
            </a:pPr>
            <a:r>
              <a:rPr lang="en-US" altLang="en-US" dirty="0"/>
              <a:t>design documents are updated</a:t>
            </a:r>
          </a:p>
          <a:p>
            <a:pPr lvl="2">
              <a:lnSpc>
                <a:spcPct val="90000"/>
              </a:lnSpc>
              <a:buClrTx/>
            </a:pPr>
            <a:r>
              <a:rPr lang="en-US" altLang="en-US" dirty="0"/>
              <a:t>user's guide is updated</a:t>
            </a:r>
          </a:p>
          <a:p>
            <a:pPr>
              <a:lnSpc>
                <a:spcPct val="90000"/>
              </a:lnSpc>
            </a:pPr>
            <a:r>
              <a:rPr lang="en-US" altLang="en-US" b="1" dirty="0"/>
              <a:t>Does not </a:t>
            </a:r>
            <a:r>
              <a:rPr lang="en-US" altLang="en-US" dirty="0"/>
              <a:t>define any details of the implementation!</a:t>
            </a:r>
          </a:p>
        </p:txBody>
      </p:sp>
      <p:sp>
        <p:nvSpPr>
          <p:cNvPr id="5" name="Rectangle 1"/>
          <p:cNvSpPr txBox="1">
            <a:spLocks noChangeArrowheads="1"/>
          </p:cNvSpPr>
          <p:nvPr/>
        </p:nvSpPr>
        <p:spPr bwMode="auto">
          <a:xfrm>
            <a:off x="326518" y="127747"/>
            <a:ext cx="9009462" cy="106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+mj-lt"/>
                <a:ea typeface="+mj-ea"/>
                <a:cs typeface="ヒラギノ角ゴ Pro W3" charset="0"/>
                <a:sym typeface="Gill Sans" pitchFamily="1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rgbClr val="5F7BAE"/>
                </a:solidFill>
                <a:effectLst/>
                <a:uLnTx/>
                <a:uFillTx/>
                <a:sym typeface="Gill Sans" charset="0"/>
              </a:rPr>
              <a:t>Agreement - Definition of “Done”</a:t>
            </a:r>
            <a:r>
              <a:rPr kumimoji="0" lang="en-US" sz="3200" b="0" i="0" u="none" strike="noStrike" kern="0" cap="none" spc="0" normalizeH="0" noProof="0" dirty="0">
                <a:ln>
                  <a:noFill/>
                </a:ln>
                <a:solidFill>
                  <a:srgbClr val="5F7BAE"/>
                </a:solidFill>
                <a:effectLst/>
                <a:uLnTx/>
                <a:uFillTx/>
                <a:sym typeface="Gill Sans" charset="0"/>
              </a:rPr>
              <a:t> (DoD)</a:t>
            </a:r>
            <a:endParaRPr kumimoji="0" lang="en-US" sz="3200" b="0" i="0" u="none" strike="noStrike" kern="0" cap="none" spc="0" normalizeH="0" baseline="0" noProof="0" dirty="0">
              <a:ln>
                <a:noFill/>
              </a:ln>
              <a:solidFill>
                <a:srgbClr val="5F7BAE"/>
              </a:solidFill>
              <a:effectLst/>
              <a:uLnTx/>
              <a:uFillTx/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80268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11113"/>
            <a:ext cx="9144000" cy="1001713"/>
          </a:xfrm>
        </p:spPr>
        <p:txBody>
          <a:bodyPr/>
          <a:lstStyle/>
          <a:p>
            <a:pPr algn="l"/>
            <a:r>
              <a:rPr lang="en-US" sz="2800" dirty="0">
                <a:solidFill>
                  <a:schemeClr val="tx2">
                    <a:lumMod val="50000"/>
                  </a:schemeClr>
                </a:solidFill>
              </a:rPr>
              <a:t/>
            </a:r>
            <a:br>
              <a:rPr lang="en-US" sz="2800" dirty="0">
                <a:solidFill>
                  <a:schemeClr val="tx2">
                    <a:lumMod val="50000"/>
                  </a:schemeClr>
                </a:solidFill>
              </a:rPr>
            </a:br>
            <a:r>
              <a:rPr lang="en-US" sz="3200" dirty="0">
                <a:solidFill>
                  <a:schemeClr val="accent1"/>
                </a:solidFill>
              </a:rPr>
              <a:t>	Elements of Agile Adoption</a:t>
            </a:r>
          </a:p>
        </p:txBody>
      </p:sp>
      <p:grpSp>
        <p:nvGrpSpPr>
          <p:cNvPr id="4" name="Group 58"/>
          <p:cNvGrpSpPr>
            <a:grpSpLocks/>
          </p:cNvGrpSpPr>
          <p:nvPr/>
        </p:nvGrpSpPr>
        <p:grpSpPr bwMode="auto">
          <a:xfrm>
            <a:off x="1447800" y="2956560"/>
            <a:ext cx="2560320" cy="1920240"/>
            <a:chOff x="1111" y="2272"/>
            <a:chExt cx="930" cy="671"/>
          </a:xfrm>
        </p:grpSpPr>
        <p:pic>
          <p:nvPicPr>
            <p:cNvPr id="10" name="Picture 51" descr="orange-disc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111" y="2272"/>
              <a:ext cx="930" cy="6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" name="Picture 52" descr="web-page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602" y="2296"/>
              <a:ext cx="325" cy="4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53" descr="economics chart financial chart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1285" y="2272"/>
              <a:ext cx="295" cy="2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3" name="Picture 54" descr="MSN icon mail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1247" y="2478"/>
              <a:ext cx="239" cy="4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4" name="Picture 56" descr="3 peice unequal Pie chart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1490" y="2523"/>
              <a:ext cx="347" cy="2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5" name="Group 102"/>
          <p:cNvGrpSpPr/>
          <p:nvPr/>
        </p:nvGrpSpPr>
        <p:grpSpPr>
          <a:xfrm>
            <a:off x="5028889" y="2956560"/>
            <a:ext cx="2560320" cy="1920240"/>
            <a:chOff x="6803480" y="2587777"/>
            <a:chExt cx="1727245" cy="1246758"/>
          </a:xfrm>
        </p:grpSpPr>
        <p:pic>
          <p:nvPicPr>
            <p:cNvPr id="16" name="Picture 15" descr="Build.bmp"/>
            <p:cNvPicPr>
              <a:picLocks noChangeAspect="1"/>
            </p:cNvPicPr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7077471" y="3109866"/>
              <a:ext cx="976758" cy="724669"/>
            </a:xfrm>
            <a:prstGeom prst="rect">
              <a:avLst/>
            </a:prstGeom>
          </p:spPr>
        </p:pic>
        <p:grpSp>
          <p:nvGrpSpPr>
            <p:cNvPr id="6" name="Group 12"/>
            <p:cNvGrpSpPr>
              <a:grpSpLocks noChangeAspect="1"/>
            </p:cNvGrpSpPr>
            <p:nvPr/>
          </p:nvGrpSpPr>
          <p:grpSpPr bwMode="auto">
            <a:xfrm>
              <a:off x="7932914" y="2720111"/>
              <a:ext cx="597811" cy="597811"/>
              <a:chOff x="2841" y="1629"/>
              <a:chExt cx="558" cy="558"/>
            </a:xfrm>
          </p:grpSpPr>
          <p:sp>
            <p:nvSpPr>
              <p:cNvPr id="19" name="AutoShape 11"/>
              <p:cNvSpPr>
                <a:spLocks noChangeAspect="1" noChangeArrowheads="1" noTextEdit="1"/>
              </p:cNvSpPr>
              <p:nvPr/>
            </p:nvSpPr>
            <p:spPr bwMode="auto">
              <a:xfrm>
                <a:off x="2841" y="1629"/>
                <a:ext cx="558" cy="55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0" name="Freeform 13"/>
              <p:cNvSpPr>
                <a:spLocks/>
              </p:cNvSpPr>
              <p:nvPr/>
            </p:nvSpPr>
            <p:spPr bwMode="auto">
              <a:xfrm>
                <a:off x="2838" y="1626"/>
                <a:ext cx="558" cy="558"/>
              </a:xfrm>
              <a:custGeom>
                <a:avLst/>
                <a:gdLst/>
                <a:ahLst/>
                <a:cxnLst>
                  <a:cxn ang="0">
                    <a:pos x="336" y="686"/>
                  </a:cxn>
                  <a:cxn ang="0">
                    <a:pos x="192" y="635"/>
                  </a:cxn>
                  <a:cxn ang="0">
                    <a:pos x="38" y="589"/>
                  </a:cxn>
                  <a:cxn ang="0">
                    <a:pos x="137" y="409"/>
                  </a:cxn>
                  <a:cxn ang="0">
                    <a:pos x="49" y="219"/>
                  </a:cxn>
                  <a:cxn ang="0">
                    <a:pos x="180" y="79"/>
                  </a:cxn>
                  <a:cxn ang="0">
                    <a:pos x="355" y="151"/>
                  </a:cxn>
                  <a:cxn ang="0">
                    <a:pos x="527" y="10"/>
                  </a:cxn>
                  <a:cxn ang="0">
                    <a:pos x="674" y="147"/>
                  </a:cxn>
                  <a:cxn ang="0">
                    <a:pos x="659" y="311"/>
                  </a:cxn>
                  <a:cxn ang="0">
                    <a:pos x="826" y="472"/>
                  </a:cxn>
                  <a:cxn ang="0">
                    <a:pos x="718" y="635"/>
                  </a:cxn>
                  <a:cxn ang="0">
                    <a:pos x="560" y="681"/>
                  </a:cxn>
                  <a:cxn ang="0">
                    <a:pos x="634" y="830"/>
                  </a:cxn>
                  <a:cxn ang="0">
                    <a:pos x="475" y="996"/>
                  </a:cxn>
                  <a:cxn ang="0">
                    <a:pos x="569" y="1153"/>
                  </a:cxn>
                  <a:cxn ang="0">
                    <a:pos x="681" y="1203"/>
                  </a:cxn>
                  <a:cxn ang="0">
                    <a:pos x="696" y="1386"/>
                  </a:cxn>
                  <a:cxn ang="0">
                    <a:pos x="917" y="1325"/>
                  </a:cxn>
                  <a:cxn ang="0">
                    <a:pos x="1015" y="1479"/>
                  </a:cxn>
                  <a:cxn ang="0">
                    <a:pos x="1193" y="1411"/>
                  </a:cxn>
                  <a:cxn ang="0">
                    <a:pos x="1210" y="1257"/>
                  </a:cxn>
                  <a:cxn ang="0">
                    <a:pos x="1426" y="1180"/>
                  </a:cxn>
                  <a:cxn ang="0">
                    <a:pos x="1443" y="1006"/>
                  </a:cxn>
                  <a:cxn ang="0">
                    <a:pos x="1341" y="908"/>
                  </a:cxn>
                  <a:cxn ang="0">
                    <a:pos x="1412" y="727"/>
                  </a:cxn>
                  <a:cxn ang="0">
                    <a:pos x="1210" y="678"/>
                  </a:cxn>
                  <a:cxn ang="0">
                    <a:pos x="1147" y="571"/>
                  </a:cxn>
                  <a:cxn ang="0">
                    <a:pos x="1022" y="461"/>
                  </a:cxn>
                  <a:cxn ang="0">
                    <a:pos x="888" y="614"/>
                  </a:cxn>
                  <a:cxn ang="0">
                    <a:pos x="946" y="445"/>
                  </a:cxn>
                  <a:cxn ang="0">
                    <a:pos x="1095" y="606"/>
                  </a:cxn>
                  <a:cxn ang="0">
                    <a:pos x="1271" y="552"/>
                  </a:cxn>
                  <a:cxn ang="0">
                    <a:pos x="1399" y="665"/>
                  </a:cxn>
                  <a:cxn ang="0">
                    <a:pos x="1341" y="868"/>
                  </a:cxn>
                  <a:cxn ang="0">
                    <a:pos x="1480" y="1014"/>
                  </a:cxn>
                  <a:cxn ang="0">
                    <a:pos x="1355" y="1111"/>
                  </a:cxn>
                  <a:cxn ang="0">
                    <a:pos x="1333" y="1240"/>
                  </a:cxn>
                  <a:cxn ang="0">
                    <a:pos x="1262" y="1405"/>
                  </a:cxn>
                  <a:cxn ang="0">
                    <a:pos x="1050" y="1336"/>
                  </a:cxn>
                  <a:cxn ang="0">
                    <a:pos x="926" y="1473"/>
                  </a:cxn>
                  <a:cxn ang="0">
                    <a:pos x="760" y="1439"/>
                  </a:cxn>
                  <a:cxn ang="0">
                    <a:pos x="711" y="1235"/>
                  </a:cxn>
                  <a:cxn ang="0">
                    <a:pos x="521" y="1211"/>
                  </a:cxn>
                  <a:cxn ang="0">
                    <a:pos x="604" y="1042"/>
                  </a:cxn>
                  <a:cxn ang="0">
                    <a:pos x="502" y="913"/>
                  </a:cxn>
                  <a:cxn ang="0">
                    <a:pos x="511" y="743"/>
                  </a:cxn>
                  <a:cxn ang="0">
                    <a:pos x="695" y="714"/>
                  </a:cxn>
                  <a:cxn ang="0">
                    <a:pos x="663" y="486"/>
                  </a:cxn>
                  <a:cxn ang="0">
                    <a:pos x="799" y="398"/>
                  </a:cxn>
                  <a:cxn ang="0">
                    <a:pos x="752" y="201"/>
                  </a:cxn>
                  <a:cxn ang="0">
                    <a:pos x="527" y="168"/>
                  </a:cxn>
                  <a:cxn ang="0">
                    <a:pos x="440" y="71"/>
                  </a:cxn>
                  <a:cxn ang="0">
                    <a:pos x="248" y="50"/>
                  </a:cxn>
                  <a:cxn ang="0">
                    <a:pos x="192" y="263"/>
                  </a:cxn>
                  <a:cxn ang="0">
                    <a:pos x="39" y="309"/>
                  </a:cxn>
                  <a:cxn ang="0">
                    <a:pos x="16" y="503"/>
                  </a:cxn>
                  <a:cxn ang="0">
                    <a:pos x="219" y="596"/>
                  </a:cxn>
                  <a:cxn ang="0">
                    <a:pos x="218" y="784"/>
                  </a:cxn>
                  <a:cxn ang="0">
                    <a:pos x="390" y="696"/>
                  </a:cxn>
                </a:cxnLst>
                <a:rect l="0" t="0" r="r" b="b"/>
                <a:pathLst>
                  <a:path w="1488" h="1488">
                    <a:moveTo>
                      <a:pt x="421" y="841"/>
                    </a:moveTo>
                    <a:lnTo>
                      <a:pt x="405" y="792"/>
                    </a:lnTo>
                    <a:lnTo>
                      <a:pt x="393" y="755"/>
                    </a:lnTo>
                    <a:lnTo>
                      <a:pt x="384" y="729"/>
                    </a:lnTo>
                    <a:lnTo>
                      <a:pt x="378" y="712"/>
                    </a:lnTo>
                    <a:lnTo>
                      <a:pt x="375" y="701"/>
                    </a:lnTo>
                    <a:lnTo>
                      <a:pt x="373" y="695"/>
                    </a:lnTo>
                    <a:lnTo>
                      <a:pt x="373" y="696"/>
                    </a:lnTo>
                    <a:lnTo>
                      <a:pt x="372" y="694"/>
                    </a:lnTo>
                    <a:lnTo>
                      <a:pt x="379" y="698"/>
                    </a:lnTo>
                    <a:lnTo>
                      <a:pt x="364" y="697"/>
                    </a:lnTo>
                    <a:cubicBezTo>
                      <a:pt x="363" y="697"/>
                      <a:pt x="361" y="697"/>
                      <a:pt x="360" y="696"/>
                    </a:cubicBezTo>
                    <a:lnTo>
                      <a:pt x="346" y="687"/>
                    </a:lnTo>
                    <a:lnTo>
                      <a:pt x="350" y="688"/>
                    </a:lnTo>
                    <a:lnTo>
                      <a:pt x="344" y="688"/>
                    </a:lnTo>
                    <a:lnTo>
                      <a:pt x="330" y="688"/>
                    </a:lnTo>
                    <a:lnTo>
                      <a:pt x="336" y="686"/>
                    </a:lnTo>
                    <a:lnTo>
                      <a:pt x="301" y="722"/>
                    </a:lnTo>
                    <a:lnTo>
                      <a:pt x="274" y="749"/>
                    </a:lnTo>
                    <a:lnTo>
                      <a:pt x="255" y="768"/>
                    </a:lnTo>
                    <a:lnTo>
                      <a:pt x="242" y="781"/>
                    </a:lnTo>
                    <a:lnTo>
                      <a:pt x="231" y="793"/>
                    </a:lnTo>
                    <a:lnTo>
                      <a:pt x="229" y="795"/>
                    </a:lnTo>
                    <a:cubicBezTo>
                      <a:pt x="227" y="798"/>
                      <a:pt x="223" y="798"/>
                      <a:pt x="219" y="796"/>
                    </a:cubicBezTo>
                    <a:lnTo>
                      <a:pt x="197" y="783"/>
                    </a:lnTo>
                    <a:lnTo>
                      <a:pt x="180" y="773"/>
                    </a:lnTo>
                    <a:lnTo>
                      <a:pt x="160" y="761"/>
                    </a:lnTo>
                    <a:lnTo>
                      <a:pt x="153" y="758"/>
                    </a:lnTo>
                    <a:cubicBezTo>
                      <a:pt x="152" y="757"/>
                      <a:pt x="151" y="757"/>
                      <a:pt x="151" y="756"/>
                    </a:cubicBezTo>
                    <a:lnTo>
                      <a:pt x="150" y="755"/>
                    </a:lnTo>
                    <a:cubicBezTo>
                      <a:pt x="148" y="753"/>
                      <a:pt x="147" y="750"/>
                      <a:pt x="148" y="747"/>
                    </a:cubicBezTo>
                    <a:lnTo>
                      <a:pt x="167" y="698"/>
                    </a:lnTo>
                    <a:lnTo>
                      <a:pt x="182" y="660"/>
                    </a:lnTo>
                    <a:lnTo>
                      <a:pt x="192" y="635"/>
                    </a:lnTo>
                    <a:lnTo>
                      <a:pt x="199" y="617"/>
                    </a:lnTo>
                    <a:lnTo>
                      <a:pt x="203" y="607"/>
                    </a:lnTo>
                    <a:lnTo>
                      <a:pt x="205" y="601"/>
                    </a:lnTo>
                    <a:cubicBezTo>
                      <a:pt x="205" y="601"/>
                      <a:pt x="205" y="600"/>
                      <a:pt x="205" y="600"/>
                    </a:cubicBezTo>
                    <a:lnTo>
                      <a:pt x="206" y="598"/>
                    </a:lnTo>
                    <a:lnTo>
                      <a:pt x="207" y="607"/>
                    </a:lnTo>
                    <a:lnTo>
                      <a:pt x="193" y="591"/>
                    </a:lnTo>
                    <a:lnTo>
                      <a:pt x="178" y="567"/>
                    </a:lnTo>
                    <a:lnTo>
                      <a:pt x="185" y="570"/>
                    </a:lnTo>
                    <a:lnTo>
                      <a:pt x="137" y="576"/>
                    </a:lnTo>
                    <a:lnTo>
                      <a:pt x="102" y="581"/>
                    </a:lnTo>
                    <a:lnTo>
                      <a:pt x="75" y="584"/>
                    </a:lnTo>
                    <a:lnTo>
                      <a:pt x="58" y="587"/>
                    </a:lnTo>
                    <a:lnTo>
                      <a:pt x="47" y="588"/>
                    </a:lnTo>
                    <a:lnTo>
                      <a:pt x="42" y="589"/>
                    </a:lnTo>
                    <a:cubicBezTo>
                      <a:pt x="41" y="589"/>
                      <a:pt x="41" y="589"/>
                      <a:pt x="40" y="589"/>
                    </a:cubicBezTo>
                    <a:lnTo>
                      <a:pt x="38" y="589"/>
                    </a:lnTo>
                    <a:cubicBezTo>
                      <a:pt x="35" y="589"/>
                      <a:pt x="32" y="587"/>
                      <a:pt x="31" y="584"/>
                    </a:cubicBezTo>
                    <a:lnTo>
                      <a:pt x="21" y="558"/>
                    </a:lnTo>
                    <a:lnTo>
                      <a:pt x="14" y="538"/>
                    </a:lnTo>
                    <a:lnTo>
                      <a:pt x="5" y="515"/>
                    </a:lnTo>
                    <a:lnTo>
                      <a:pt x="1" y="507"/>
                    </a:lnTo>
                    <a:cubicBezTo>
                      <a:pt x="1" y="506"/>
                      <a:pt x="0" y="505"/>
                      <a:pt x="0" y="503"/>
                    </a:cubicBezTo>
                    <a:lnTo>
                      <a:pt x="0" y="502"/>
                    </a:lnTo>
                    <a:cubicBezTo>
                      <a:pt x="0" y="499"/>
                      <a:pt x="2" y="497"/>
                      <a:pt x="5" y="495"/>
                    </a:cubicBezTo>
                    <a:lnTo>
                      <a:pt x="50" y="472"/>
                    </a:lnTo>
                    <a:lnTo>
                      <a:pt x="84" y="455"/>
                    </a:lnTo>
                    <a:lnTo>
                      <a:pt x="109" y="443"/>
                    </a:lnTo>
                    <a:lnTo>
                      <a:pt x="125" y="435"/>
                    </a:lnTo>
                    <a:lnTo>
                      <a:pt x="135" y="430"/>
                    </a:lnTo>
                    <a:lnTo>
                      <a:pt x="139" y="428"/>
                    </a:lnTo>
                    <a:lnTo>
                      <a:pt x="142" y="426"/>
                    </a:lnTo>
                    <a:lnTo>
                      <a:pt x="137" y="433"/>
                    </a:lnTo>
                    <a:lnTo>
                      <a:pt x="137" y="409"/>
                    </a:lnTo>
                    <a:lnTo>
                      <a:pt x="137" y="384"/>
                    </a:lnTo>
                    <a:lnTo>
                      <a:pt x="141" y="391"/>
                    </a:lnTo>
                    <a:lnTo>
                      <a:pt x="99" y="365"/>
                    </a:lnTo>
                    <a:lnTo>
                      <a:pt x="68" y="345"/>
                    </a:lnTo>
                    <a:lnTo>
                      <a:pt x="45" y="331"/>
                    </a:lnTo>
                    <a:lnTo>
                      <a:pt x="30" y="322"/>
                    </a:lnTo>
                    <a:lnTo>
                      <a:pt x="16" y="313"/>
                    </a:lnTo>
                    <a:lnTo>
                      <a:pt x="15" y="313"/>
                    </a:lnTo>
                    <a:cubicBezTo>
                      <a:pt x="11" y="311"/>
                      <a:pt x="10" y="306"/>
                      <a:pt x="11" y="303"/>
                    </a:cubicBezTo>
                    <a:lnTo>
                      <a:pt x="21" y="277"/>
                    </a:lnTo>
                    <a:lnTo>
                      <a:pt x="28" y="257"/>
                    </a:lnTo>
                    <a:lnTo>
                      <a:pt x="36" y="234"/>
                    </a:lnTo>
                    <a:lnTo>
                      <a:pt x="40" y="224"/>
                    </a:lnTo>
                    <a:lnTo>
                      <a:pt x="39" y="227"/>
                    </a:lnTo>
                    <a:lnTo>
                      <a:pt x="39" y="226"/>
                    </a:lnTo>
                    <a:cubicBezTo>
                      <a:pt x="39" y="224"/>
                      <a:pt x="41" y="222"/>
                      <a:pt x="42" y="220"/>
                    </a:cubicBezTo>
                    <a:cubicBezTo>
                      <a:pt x="44" y="219"/>
                      <a:pt x="47" y="218"/>
                      <a:pt x="49" y="219"/>
                    </a:cubicBezTo>
                    <a:lnTo>
                      <a:pt x="98" y="229"/>
                    </a:lnTo>
                    <a:lnTo>
                      <a:pt x="134" y="236"/>
                    </a:lnTo>
                    <a:lnTo>
                      <a:pt x="160" y="241"/>
                    </a:lnTo>
                    <a:lnTo>
                      <a:pt x="178" y="244"/>
                    </a:lnTo>
                    <a:lnTo>
                      <a:pt x="188" y="246"/>
                    </a:lnTo>
                    <a:lnTo>
                      <a:pt x="195" y="248"/>
                    </a:lnTo>
                    <a:lnTo>
                      <a:pt x="192" y="247"/>
                    </a:lnTo>
                    <a:lnTo>
                      <a:pt x="194" y="247"/>
                    </a:lnTo>
                    <a:lnTo>
                      <a:pt x="189" y="250"/>
                    </a:lnTo>
                    <a:lnTo>
                      <a:pt x="204" y="235"/>
                    </a:lnTo>
                    <a:lnTo>
                      <a:pt x="228" y="211"/>
                    </a:lnTo>
                    <a:lnTo>
                      <a:pt x="226" y="219"/>
                    </a:lnTo>
                    <a:lnTo>
                      <a:pt x="210" y="170"/>
                    </a:lnTo>
                    <a:lnTo>
                      <a:pt x="198" y="133"/>
                    </a:lnTo>
                    <a:lnTo>
                      <a:pt x="189" y="107"/>
                    </a:lnTo>
                    <a:lnTo>
                      <a:pt x="183" y="90"/>
                    </a:lnTo>
                    <a:lnTo>
                      <a:pt x="180" y="79"/>
                    </a:lnTo>
                    <a:lnTo>
                      <a:pt x="178" y="73"/>
                    </a:lnTo>
                    <a:lnTo>
                      <a:pt x="178" y="74"/>
                    </a:lnTo>
                    <a:lnTo>
                      <a:pt x="177" y="72"/>
                    </a:lnTo>
                    <a:cubicBezTo>
                      <a:pt x="176" y="70"/>
                      <a:pt x="176" y="68"/>
                      <a:pt x="177" y="66"/>
                    </a:cubicBezTo>
                    <a:cubicBezTo>
                      <a:pt x="178" y="64"/>
                      <a:pt x="179" y="62"/>
                      <a:pt x="181" y="61"/>
                    </a:cubicBezTo>
                    <a:lnTo>
                      <a:pt x="203" y="51"/>
                    </a:lnTo>
                    <a:lnTo>
                      <a:pt x="220" y="44"/>
                    </a:lnTo>
                    <a:lnTo>
                      <a:pt x="241" y="35"/>
                    </a:lnTo>
                    <a:lnTo>
                      <a:pt x="247" y="32"/>
                    </a:lnTo>
                    <a:cubicBezTo>
                      <a:pt x="249" y="31"/>
                      <a:pt x="250" y="30"/>
                      <a:pt x="251" y="30"/>
                    </a:cubicBezTo>
                    <a:lnTo>
                      <a:pt x="252" y="30"/>
                    </a:lnTo>
                    <a:cubicBezTo>
                      <a:pt x="255" y="30"/>
                      <a:pt x="257" y="32"/>
                      <a:pt x="259" y="33"/>
                    </a:cubicBezTo>
                    <a:lnTo>
                      <a:pt x="291" y="72"/>
                    </a:lnTo>
                    <a:lnTo>
                      <a:pt x="316" y="102"/>
                    </a:lnTo>
                    <a:lnTo>
                      <a:pt x="333" y="123"/>
                    </a:lnTo>
                    <a:lnTo>
                      <a:pt x="345" y="137"/>
                    </a:lnTo>
                    <a:lnTo>
                      <a:pt x="355" y="151"/>
                    </a:lnTo>
                    <a:lnTo>
                      <a:pt x="356" y="152"/>
                    </a:lnTo>
                    <a:lnTo>
                      <a:pt x="348" y="150"/>
                    </a:lnTo>
                    <a:lnTo>
                      <a:pt x="372" y="141"/>
                    </a:lnTo>
                    <a:cubicBezTo>
                      <a:pt x="372" y="141"/>
                      <a:pt x="373" y="141"/>
                      <a:pt x="374" y="140"/>
                    </a:cubicBezTo>
                    <a:lnTo>
                      <a:pt x="398" y="139"/>
                    </a:lnTo>
                    <a:lnTo>
                      <a:pt x="391" y="144"/>
                    </a:lnTo>
                    <a:lnTo>
                      <a:pt x="410" y="98"/>
                    </a:lnTo>
                    <a:lnTo>
                      <a:pt x="425" y="64"/>
                    </a:lnTo>
                    <a:lnTo>
                      <a:pt x="436" y="39"/>
                    </a:lnTo>
                    <a:lnTo>
                      <a:pt x="443" y="22"/>
                    </a:lnTo>
                    <a:lnTo>
                      <a:pt x="447" y="12"/>
                    </a:lnTo>
                    <a:lnTo>
                      <a:pt x="449" y="7"/>
                    </a:lnTo>
                    <a:lnTo>
                      <a:pt x="450" y="5"/>
                    </a:lnTo>
                    <a:cubicBezTo>
                      <a:pt x="452" y="2"/>
                      <a:pt x="455" y="0"/>
                      <a:pt x="458" y="1"/>
                    </a:cubicBezTo>
                    <a:lnTo>
                      <a:pt x="484" y="4"/>
                    </a:lnTo>
                    <a:lnTo>
                      <a:pt x="504" y="7"/>
                    </a:lnTo>
                    <a:lnTo>
                      <a:pt x="527" y="10"/>
                    </a:lnTo>
                    <a:lnTo>
                      <a:pt x="535" y="11"/>
                    </a:lnTo>
                    <a:lnTo>
                      <a:pt x="535" y="10"/>
                    </a:lnTo>
                    <a:cubicBezTo>
                      <a:pt x="540" y="10"/>
                      <a:pt x="543" y="14"/>
                      <a:pt x="543" y="18"/>
                    </a:cubicBezTo>
                    <a:lnTo>
                      <a:pt x="543" y="70"/>
                    </a:lnTo>
                    <a:lnTo>
                      <a:pt x="543" y="109"/>
                    </a:lnTo>
                    <a:lnTo>
                      <a:pt x="543" y="137"/>
                    </a:lnTo>
                    <a:lnTo>
                      <a:pt x="543" y="156"/>
                    </a:lnTo>
                    <a:lnTo>
                      <a:pt x="543" y="168"/>
                    </a:lnTo>
                    <a:lnTo>
                      <a:pt x="543" y="174"/>
                    </a:lnTo>
                    <a:lnTo>
                      <a:pt x="543" y="176"/>
                    </a:lnTo>
                    <a:lnTo>
                      <a:pt x="540" y="170"/>
                    </a:lnTo>
                    <a:lnTo>
                      <a:pt x="560" y="185"/>
                    </a:lnTo>
                    <a:lnTo>
                      <a:pt x="579" y="200"/>
                    </a:lnTo>
                    <a:lnTo>
                      <a:pt x="571" y="199"/>
                    </a:lnTo>
                    <a:lnTo>
                      <a:pt x="616" y="176"/>
                    </a:lnTo>
                    <a:lnTo>
                      <a:pt x="650" y="159"/>
                    </a:lnTo>
                    <a:lnTo>
                      <a:pt x="674" y="147"/>
                    </a:lnTo>
                    <a:lnTo>
                      <a:pt x="690" y="139"/>
                    </a:lnTo>
                    <a:lnTo>
                      <a:pt x="700" y="134"/>
                    </a:lnTo>
                    <a:lnTo>
                      <a:pt x="704" y="132"/>
                    </a:lnTo>
                    <a:lnTo>
                      <a:pt x="707" y="130"/>
                    </a:lnTo>
                    <a:cubicBezTo>
                      <a:pt x="710" y="129"/>
                      <a:pt x="714" y="129"/>
                      <a:pt x="717" y="132"/>
                    </a:cubicBezTo>
                    <a:lnTo>
                      <a:pt x="745" y="166"/>
                    </a:lnTo>
                    <a:lnTo>
                      <a:pt x="760" y="184"/>
                    </a:lnTo>
                    <a:lnTo>
                      <a:pt x="765" y="190"/>
                    </a:lnTo>
                    <a:lnTo>
                      <a:pt x="765" y="191"/>
                    </a:lnTo>
                    <a:cubicBezTo>
                      <a:pt x="768" y="194"/>
                      <a:pt x="768" y="199"/>
                      <a:pt x="765" y="202"/>
                    </a:cubicBezTo>
                    <a:lnTo>
                      <a:pt x="730" y="241"/>
                    </a:lnTo>
                    <a:lnTo>
                      <a:pt x="703" y="271"/>
                    </a:lnTo>
                    <a:lnTo>
                      <a:pt x="684" y="292"/>
                    </a:lnTo>
                    <a:lnTo>
                      <a:pt x="671" y="306"/>
                    </a:lnTo>
                    <a:lnTo>
                      <a:pt x="661" y="319"/>
                    </a:lnTo>
                    <a:lnTo>
                      <a:pt x="658" y="321"/>
                    </a:lnTo>
                    <a:lnTo>
                      <a:pt x="659" y="311"/>
                    </a:lnTo>
                    <a:lnTo>
                      <a:pt x="672" y="332"/>
                    </a:lnTo>
                    <a:cubicBezTo>
                      <a:pt x="673" y="333"/>
                      <a:pt x="673" y="334"/>
                      <a:pt x="673" y="335"/>
                    </a:cubicBezTo>
                    <a:lnTo>
                      <a:pt x="679" y="363"/>
                    </a:lnTo>
                    <a:lnTo>
                      <a:pt x="673" y="357"/>
                    </a:lnTo>
                    <a:lnTo>
                      <a:pt x="722" y="367"/>
                    </a:lnTo>
                    <a:lnTo>
                      <a:pt x="758" y="374"/>
                    </a:lnTo>
                    <a:lnTo>
                      <a:pt x="784" y="380"/>
                    </a:lnTo>
                    <a:lnTo>
                      <a:pt x="802" y="383"/>
                    </a:lnTo>
                    <a:lnTo>
                      <a:pt x="812" y="385"/>
                    </a:lnTo>
                    <a:lnTo>
                      <a:pt x="819" y="387"/>
                    </a:lnTo>
                    <a:lnTo>
                      <a:pt x="816" y="386"/>
                    </a:lnTo>
                    <a:lnTo>
                      <a:pt x="818" y="386"/>
                    </a:lnTo>
                    <a:cubicBezTo>
                      <a:pt x="823" y="386"/>
                      <a:pt x="826" y="390"/>
                      <a:pt x="826" y="394"/>
                    </a:cubicBezTo>
                    <a:lnTo>
                      <a:pt x="826" y="420"/>
                    </a:lnTo>
                    <a:lnTo>
                      <a:pt x="826" y="440"/>
                    </a:lnTo>
                    <a:lnTo>
                      <a:pt x="826" y="463"/>
                    </a:lnTo>
                    <a:lnTo>
                      <a:pt x="826" y="472"/>
                    </a:lnTo>
                    <a:lnTo>
                      <a:pt x="826" y="473"/>
                    </a:lnTo>
                    <a:cubicBezTo>
                      <a:pt x="826" y="477"/>
                      <a:pt x="824" y="481"/>
                      <a:pt x="820" y="481"/>
                    </a:cubicBezTo>
                    <a:lnTo>
                      <a:pt x="769" y="488"/>
                    </a:lnTo>
                    <a:lnTo>
                      <a:pt x="729" y="493"/>
                    </a:lnTo>
                    <a:lnTo>
                      <a:pt x="701" y="496"/>
                    </a:lnTo>
                    <a:lnTo>
                      <a:pt x="684" y="499"/>
                    </a:lnTo>
                    <a:lnTo>
                      <a:pt x="671" y="500"/>
                    </a:lnTo>
                    <a:lnTo>
                      <a:pt x="666" y="501"/>
                    </a:lnTo>
                    <a:cubicBezTo>
                      <a:pt x="665" y="501"/>
                      <a:pt x="665" y="501"/>
                      <a:pt x="664" y="501"/>
                    </a:cubicBezTo>
                    <a:lnTo>
                      <a:pt x="662" y="501"/>
                    </a:lnTo>
                    <a:lnTo>
                      <a:pt x="670" y="495"/>
                    </a:lnTo>
                    <a:lnTo>
                      <a:pt x="665" y="523"/>
                    </a:lnTo>
                    <a:lnTo>
                      <a:pt x="660" y="544"/>
                    </a:lnTo>
                    <a:lnTo>
                      <a:pt x="659" y="538"/>
                    </a:lnTo>
                    <a:lnTo>
                      <a:pt x="685" y="580"/>
                    </a:lnTo>
                    <a:lnTo>
                      <a:pt x="704" y="612"/>
                    </a:lnTo>
                    <a:lnTo>
                      <a:pt x="718" y="635"/>
                    </a:lnTo>
                    <a:lnTo>
                      <a:pt x="727" y="650"/>
                    </a:lnTo>
                    <a:lnTo>
                      <a:pt x="736" y="664"/>
                    </a:lnTo>
                    <a:lnTo>
                      <a:pt x="738" y="667"/>
                    </a:lnTo>
                    <a:cubicBezTo>
                      <a:pt x="739" y="669"/>
                      <a:pt x="739" y="672"/>
                      <a:pt x="737" y="675"/>
                    </a:cubicBezTo>
                    <a:lnTo>
                      <a:pt x="720" y="704"/>
                    </a:lnTo>
                    <a:lnTo>
                      <a:pt x="713" y="718"/>
                    </a:lnTo>
                    <a:cubicBezTo>
                      <a:pt x="712" y="719"/>
                      <a:pt x="712" y="719"/>
                      <a:pt x="712" y="719"/>
                    </a:cubicBezTo>
                    <a:lnTo>
                      <a:pt x="708" y="724"/>
                    </a:lnTo>
                    <a:lnTo>
                      <a:pt x="709" y="719"/>
                    </a:lnTo>
                    <a:lnTo>
                      <a:pt x="709" y="720"/>
                    </a:lnTo>
                    <a:cubicBezTo>
                      <a:pt x="709" y="723"/>
                      <a:pt x="708" y="725"/>
                      <a:pt x="706" y="727"/>
                    </a:cubicBezTo>
                    <a:cubicBezTo>
                      <a:pt x="704" y="728"/>
                      <a:pt x="701" y="729"/>
                      <a:pt x="699" y="728"/>
                    </a:cubicBezTo>
                    <a:lnTo>
                      <a:pt x="650" y="711"/>
                    </a:lnTo>
                    <a:lnTo>
                      <a:pt x="614" y="699"/>
                    </a:lnTo>
                    <a:lnTo>
                      <a:pt x="588" y="690"/>
                    </a:lnTo>
                    <a:lnTo>
                      <a:pt x="570" y="684"/>
                    </a:lnTo>
                    <a:lnTo>
                      <a:pt x="560" y="681"/>
                    </a:lnTo>
                    <a:lnTo>
                      <a:pt x="554" y="679"/>
                    </a:lnTo>
                    <a:cubicBezTo>
                      <a:pt x="554" y="679"/>
                      <a:pt x="553" y="679"/>
                      <a:pt x="553" y="679"/>
                    </a:cubicBezTo>
                    <a:lnTo>
                      <a:pt x="551" y="678"/>
                    </a:lnTo>
                    <a:lnTo>
                      <a:pt x="562" y="674"/>
                    </a:lnTo>
                    <a:lnTo>
                      <a:pt x="549" y="700"/>
                    </a:lnTo>
                    <a:lnTo>
                      <a:pt x="539" y="720"/>
                    </a:lnTo>
                    <a:lnTo>
                      <a:pt x="528" y="743"/>
                    </a:lnTo>
                    <a:lnTo>
                      <a:pt x="524" y="752"/>
                    </a:lnTo>
                    <a:cubicBezTo>
                      <a:pt x="523" y="753"/>
                      <a:pt x="523" y="753"/>
                      <a:pt x="522" y="754"/>
                    </a:cubicBezTo>
                    <a:lnTo>
                      <a:pt x="521" y="755"/>
                    </a:lnTo>
                    <a:lnTo>
                      <a:pt x="520" y="743"/>
                    </a:lnTo>
                    <a:lnTo>
                      <a:pt x="559" y="772"/>
                    </a:lnTo>
                    <a:lnTo>
                      <a:pt x="588" y="794"/>
                    </a:lnTo>
                    <a:lnTo>
                      <a:pt x="608" y="810"/>
                    </a:lnTo>
                    <a:lnTo>
                      <a:pt x="622" y="821"/>
                    </a:lnTo>
                    <a:lnTo>
                      <a:pt x="635" y="831"/>
                    </a:lnTo>
                    <a:lnTo>
                      <a:pt x="634" y="830"/>
                    </a:lnTo>
                    <a:lnTo>
                      <a:pt x="636" y="831"/>
                    </a:lnTo>
                    <a:cubicBezTo>
                      <a:pt x="640" y="833"/>
                      <a:pt x="641" y="837"/>
                      <a:pt x="640" y="841"/>
                    </a:cubicBezTo>
                    <a:lnTo>
                      <a:pt x="631" y="871"/>
                    </a:lnTo>
                    <a:lnTo>
                      <a:pt x="621" y="901"/>
                    </a:lnTo>
                    <a:cubicBezTo>
                      <a:pt x="620" y="904"/>
                      <a:pt x="618" y="906"/>
                      <a:pt x="615" y="906"/>
                    </a:cubicBezTo>
                    <a:lnTo>
                      <a:pt x="567" y="916"/>
                    </a:lnTo>
                    <a:lnTo>
                      <a:pt x="531" y="923"/>
                    </a:lnTo>
                    <a:lnTo>
                      <a:pt x="505" y="928"/>
                    </a:lnTo>
                    <a:lnTo>
                      <a:pt x="487" y="931"/>
                    </a:lnTo>
                    <a:lnTo>
                      <a:pt x="477" y="933"/>
                    </a:lnTo>
                    <a:lnTo>
                      <a:pt x="472" y="935"/>
                    </a:lnTo>
                    <a:cubicBezTo>
                      <a:pt x="471" y="935"/>
                      <a:pt x="470" y="935"/>
                      <a:pt x="469" y="935"/>
                    </a:cubicBezTo>
                    <a:lnTo>
                      <a:pt x="467" y="935"/>
                    </a:lnTo>
                    <a:lnTo>
                      <a:pt x="475" y="927"/>
                    </a:lnTo>
                    <a:lnTo>
                      <a:pt x="475" y="953"/>
                    </a:lnTo>
                    <a:lnTo>
                      <a:pt x="475" y="973"/>
                    </a:lnTo>
                    <a:lnTo>
                      <a:pt x="475" y="996"/>
                    </a:lnTo>
                    <a:lnTo>
                      <a:pt x="475" y="1005"/>
                    </a:lnTo>
                    <a:lnTo>
                      <a:pt x="475" y="1006"/>
                    </a:lnTo>
                    <a:lnTo>
                      <a:pt x="469" y="999"/>
                    </a:lnTo>
                    <a:lnTo>
                      <a:pt x="517" y="1009"/>
                    </a:lnTo>
                    <a:lnTo>
                      <a:pt x="553" y="1016"/>
                    </a:lnTo>
                    <a:lnTo>
                      <a:pt x="579" y="1022"/>
                    </a:lnTo>
                    <a:lnTo>
                      <a:pt x="597" y="1025"/>
                    </a:lnTo>
                    <a:lnTo>
                      <a:pt x="607" y="1027"/>
                    </a:lnTo>
                    <a:lnTo>
                      <a:pt x="614" y="1029"/>
                    </a:lnTo>
                    <a:lnTo>
                      <a:pt x="611" y="1028"/>
                    </a:lnTo>
                    <a:lnTo>
                      <a:pt x="613" y="1028"/>
                    </a:lnTo>
                    <a:cubicBezTo>
                      <a:pt x="617" y="1028"/>
                      <a:pt x="620" y="1031"/>
                      <a:pt x="621" y="1034"/>
                    </a:cubicBezTo>
                    <a:lnTo>
                      <a:pt x="631" y="1064"/>
                    </a:lnTo>
                    <a:lnTo>
                      <a:pt x="640" y="1093"/>
                    </a:lnTo>
                    <a:cubicBezTo>
                      <a:pt x="641" y="1096"/>
                      <a:pt x="640" y="1100"/>
                      <a:pt x="637" y="1102"/>
                    </a:cubicBezTo>
                    <a:lnTo>
                      <a:pt x="598" y="1131"/>
                    </a:lnTo>
                    <a:lnTo>
                      <a:pt x="569" y="1153"/>
                    </a:lnTo>
                    <a:lnTo>
                      <a:pt x="549" y="1169"/>
                    </a:lnTo>
                    <a:lnTo>
                      <a:pt x="535" y="1180"/>
                    </a:lnTo>
                    <a:lnTo>
                      <a:pt x="522" y="1190"/>
                    </a:lnTo>
                    <a:cubicBezTo>
                      <a:pt x="522" y="1190"/>
                      <a:pt x="522" y="1190"/>
                      <a:pt x="521" y="1191"/>
                    </a:cubicBezTo>
                    <a:lnTo>
                      <a:pt x="519" y="1192"/>
                    </a:lnTo>
                    <a:lnTo>
                      <a:pt x="522" y="1181"/>
                    </a:lnTo>
                    <a:lnTo>
                      <a:pt x="535" y="1204"/>
                    </a:lnTo>
                    <a:lnTo>
                      <a:pt x="545" y="1220"/>
                    </a:lnTo>
                    <a:lnTo>
                      <a:pt x="556" y="1241"/>
                    </a:lnTo>
                    <a:lnTo>
                      <a:pt x="561" y="1249"/>
                    </a:lnTo>
                    <a:lnTo>
                      <a:pt x="559" y="1247"/>
                    </a:lnTo>
                    <a:lnTo>
                      <a:pt x="560" y="1248"/>
                    </a:lnTo>
                    <a:lnTo>
                      <a:pt x="552" y="1246"/>
                    </a:lnTo>
                    <a:lnTo>
                      <a:pt x="601" y="1230"/>
                    </a:lnTo>
                    <a:lnTo>
                      <a:pt x="637" y="1218"/>
                    </a:lnTo>
                    <a:lnTo>
                      <a:pt x="663" y="1209"/>
                    </a:lnTo>
                    <a:lnTo>
                      <a:pt x="681" y="1203"/>
                    </a:lnTo>
                    <a:lnTo>
                      <a:pt x="691" y="1200"/>
                    </a:lnTo>
                    <a:lnTo>
                      <a:pt x="697" y="1198"/>
                    </a:lnTo>
                    <a:lnTo>
                      <a:pt x="696" y="1198"/>
                    </a:lnTo>
                    <a:lnTo>
                      <a:pt x="698" y="1197"/>
                    </a:lnTo>
                    <a:cubicBezTo>
                      <a:pt x="702" y="1195"/>
                      <a:pt x="706" y="1197"/>
                      <a:pt x="708" y="1200"/>
                    </a:cubicBezTo>
                    <a:lnTo>
                      <a:pt x="723" y="1225"/>
                    </a:lnTo>
                    <a:lnTo>
                      <a:pt x="722" y="1224"/>
                    </a:lnTo>
                    <a:lnTo>
                      <a:pt x="746" y="1248"/>
                    </a:lnTo>
                    <a:cubicBezTo>
                      <a:pt x="748" y="1250"/>
                      <a:pt x="749" y="1253"/>
                      <a:pt x="748" y="1256"/>
                    </a:cubicBezTo>
                    <a:lnTo>
                      <a:pt x="732" y="1302"/>
                    </a:lnTo>
                    <a:lnTo>
                      <a:pt x="720" y="1336"/>
                    </a:lnTo>
                    <a:lnTo>
                      <a:pt x="711" y="1361"/>
                    </a:lnTo>
                    <a:lnTo>
                      <a:pt x="705" y="1378"/>
                    </a:lnTo>
                    <a:lnTo>
                      <a:pt x="702" y="1388"/>
                    </a:lnTo>
                    <a:lnTo>
                      <a:pt x="700" y="1393"/>
                    </a:lnTo>
                    <a:lnTo>
                      <a:pt x="699" y="1396"/>
                    </a:lnTo>
                    <a:lnTo>
                      <a:pt x="696" y="1386"/>
                    </a:lnTo>
                    <a:lnTo>
                      <a:pt x="718" y="1399"/>
                    </a:lnTo>
                    <a:lnTo>
                      <a:pt x="735" y="1409"/>
                    </a:lnTo>
                    <a:lnTo>
                      <a:pt x="755" y="1419"/>
                    </a:lnTo>
                    <a:lnTo>
                      <a:pt x="762" y="1424"/>
                    </a:lnTo>
                    <a:cubicBezTo>
                      <a:pt x="763" y="1424"/>
                      <a:pt x="764" y="1424"/>
                      <a:pt x="764" y="1425"/>
                    </a:cubicBezTo>
                    <a:lnTo>
                      <a:pt x="765" y="1426"/>
                    </a:lnTo>
                    <a:lnTo>
                      <a:pt x="753" y="1426"/>
                    </a:lnTo>
                    <a:lnTo>
                      <a:pt x="785" y="1387"/>
                    </a:lnTo>
                    <a:lnTo>
                      <a:pt x="810" y="1358"/>
                    </a:lnTo>
                    <a:lnTo>
                      <a:pt x="827" y="1337"/>
                    </a:lnTo>
                    <a:lnTo>
                      <a:pt x="839" y="1323"/>
                    </a:lnTo>
                    <a:lnTo>
                      <a:pt x="849" y="1311"/>
                    </a:lnTo>
                    <a:lnTo>
                      <a:pt x="852" y="1308"/>
                    </a:lnTo>
                    <a:cubicBezTo>
                      <a:pt x="854" y="1305"/>
                      <a:pt x="858" y="1305"/>
                      <a:pt x="861" y="1306"/>
                    </a:cubicBezTo>
                    <a:lnTo>
                      <a:pt x="890" y="1319"/>
                    </a:lnTo>
                    <a:lnTo>
                      <a:pt x="888" y="1319"/>
                    </a:lnTo>
                    <a:lnTo>
                      <a:pt x="917" y="1325"/>
                    </a:lnTo>
                    <a:cubicBezTo>
                      <a:pt x="920" y="1325"/>
                      <a:pt x="923" y="1328"/>
                      <a:pt x="923" y="1331"/>
                    </a:cubicBezTo>
                    <a:lnTo>
                      <a:pt x="930" y="1380"/>
                    </a:lnTo>
                    <a:lnTo>
                      <a:pt x="935" y="1417"/>
                    </a:lnTo>
                    <a:lnTo>
                      <a:pt x="938" y="1444"/>
                    </a:lnTo>
                    <a:lnTo>
                      <a:pt x="941" y="1461"/>
                    </a:lnTo>
                    <a:lnTo>
                      <a:pt x="942" y="1472"/>
                    </a:lnTo>
                    <a:lnTo>
                      <a:pt x="943" y="1477"/>
                    </a:lnTo>
                    <a:cubicBezTo>
                      <a:pt x="943" y="1478"/>
                      <a:pt x="943" y="1478"/>
                      <a:pt x="943" y="1478"/>
                    </a:cubicBezTo>
                    <a:lnTo>
                      <a:pt x="943" y="1480"/>
                    </a:lnTo>
                    <a:lnTo>
                      <a:pt x="935" y="1472"/>
                    </a:lnTo>
                    <a:lnTo>
                      <a:pt x="964" y="1472"/>
                    </a:lnTo>
                    <a:lnTo>
                      <a:pt x="985" y="1472"/>
                    </a:lnTo>
                    <a:lnTo>
                      <a:pt x="1001" y="1472"/>
                    </a:lnTo>
                    <a:lnTo>
                      <a:pt x="1011" y="1472"/>
                    </a:lnTo>
                    <a:lnTo>
                      <a:pt x="1021" y="1472"/>
                    </a:lnTo>
                    <a:lnTo>
                      <a:pt x="1022" y="1472"/>
                    </a:lnTo>
                    <a:lnTo>
                      <a:pt x="1015" y="1479"/>
                    </a:lnTo>
                    <a:lnTo>
                      <a:pt x="1022" y="1430"/>
                    </a:lnTo>
                    <a:lnTo>
                      <a:pt x="1027" y="1393"/>
                    </a:lnTo>
                    <a:lnTo>
                      <a:pt x="1030" y="1368"/>
                    </a:lnTo>
                    <a:lnTo>
                      <a:pt x="1033" y="1350"/>
                    </a:lnTo>
                    <a:lnTo>
                      <a:pt x="1033" y="1340"/>
                    </a:lnTo>
                    <a:lnTo>
                      <a:pt x="1035" y="1333"/>
                    </a:lnTo>
                    <a:lnTo>
                      <a:pt x="1034" y="1334"/>
                    </a:lnTo>
                    <a:lnTo>
                      <a:pt x="1034" y="1332"/>
                    </a:lnTo>
                    <a:cubicBezTo>
                      <a:pt x="1034" y="1329"/>
                      <a:pt x="1037" y="1325"/>
                      <a:pt x="1041" y="1325"/>
                    </a:cubicBezTo>
                    <a:lnTo>
                      <a:pt x="1070" y="1319"/>
                    </a:lnTo>
                    <a:lnTo>
                      <a:pt x="1068" y="1319"/>
                    </a:lnTo>
                    <a:lnTo>
                      <a:pt x="1097" y="1306"/>
                    </a:lnTo>
                    <a:cubicBezTo>
                      <a:pt x="1100" y="1305"/>
                      <a:pt x="1104" y="1306"/>
                      <a:pt x="1107" y="1308"/>
                    </a:cubicBezTo>
                    <a:lnTo>
                      <a:pt x="1139" y="1347"/>
                    </a:lnTo>
                    <a:lnTo>
                      <a:pt x="1164" y="1376"/>
                    </a:lnTo>
                    <a:lnTo>
                      <a:pt x="1181" y="1397"/>
                    </a:lnTo>
                    <a:lnTo>
                      <a:pt x="1193" y="1411"/>
                    </a:lnTo>
                    <a:lnTo>
                      <a:pt x="1203" y="1425"/>
                    </a:lnTo>
                    <a:lnTo>
                      <a:pt x="1204" y="1426"/>
                    </a:lnTo>
                    <a:lnTo>
                      <a:pt x="1194" y="1425"/>
                    </a:lnTo>
                    <a:lnTo>
                      <a:pt x="1216" y="1412"/>
                    </a:lnTo>
                    <a:lnTo>
                      <a:pt x="1233" y="1402"/>
                    </a:lnTo>
                    <a:lnTo>
                      <a:pt x="1255" y="1390"/>
                    </a:lnTo>
                    <a:lnTo>
                      <a:pt x="1261" y="1387"/>
                    </a:lnTo>
                    <a:lnTo>
                      <a:pt x="1260" y="1388"/>
                    </a:lnTo>
                    <a:lnTo>
                      <a:pt x="1261" y="1387"/>
                    </a:lnTo>
                    <a:lnTo>
                      <a:pt x="1259" y="1395"/>
                    </a:lnTo>
                    <a:lnTo>
                      <a:pt x="1243" y="1349"/>
                    </a:lnTo>
                    <a:lnTo>
                      <a:pt x="1231" y="1315"/>
                    </a:lnTo>
                    <a:lnTo>
                      <a:pt x="1222" y="1290"/>
                    </a:lnTo>
                    <a:lnTo>
                      <a:pt x="1216" y="1273"/>
                    </a:lnTo>
                    <a:lnTo>
                      <a:pt x="1213" y="1263"/>
                    </a:lnTo>
                    <a:lnTo>
                      <a:pt x="1211" y="1258"/>
                    </a:lnTo>
                    <a:lnTo>
                      <a:pt x="1210" y="1257"/>
                    </a:lnTo>
                    <a:cubicBezTo>
                      <a:pt x="1209" y="1254"/>
                      <a:pt x="1209" y="1251"/>
                      <a:pt x="1211" y="1248"/>
                    </a:cubicBezTo>
                    <a:lnTo>
                      <a:pt x="1231" y="1224"/>
                    </a:lnTo>
                    <a:lnTo>
                      <a:pt x="1250" y="1200"/>
                    </a:lnTo>
                    <a:cubicBezTo>
                      <a:pt x="1252" y="1197"/>
                      <a:pt x="1256" y="1196"/>
                      <a:pt x="1259" y="1197"/>
                    </a:cubicBezTo>
                    <a:lnTo>
                      <a:pt x="1304" y="1213"/>
                    </a:lnTo>
                    <a:lnTo>
                      <a:pt x="1338" y="1225"/>
                    </a:lnTo>
                    <a:lnTo>
                      <a:pt x="1363" y="1234"/>
                    </a:lnTo>
                    <a:lnTo>
                      <a:pt x="1379" y="1240"/>
                    </a:lnTo>
                    <a:lnTo>
                      <a:pt x="1389" y="1243"/>
                    </a:lnTo>
                    <a:lnTo>
                      <a:pt x="1394" y="1245"/>
                    </a:lnTo>
                    <a:lnTo>
                      <a:pt x="1397" y="1246"/>
                    </a:lnTo>
                    <a:lnTo>
                      <a:pt x="1386" y="1250"/>
                    </a:lnTo>
                    <a:lnTo>
                      <a:pt x="1399" y="1227"/>
                    </a:lnTo>
                    <a:lnTo>
                      <a:pt x="1410" y="1209"/>
                    </a:lnTo>
                    <a:lnTo>
                      <a:pt x="1420" y="1190"/>
                    </a:lnTo>
                    <a:lnTo>
                      <a:pt x="1424" y="1182"/>
                    </a:lnTo>
                    <a:cubicBezTo>
                      <a:pt x="1425" y="1181"/>
                      <a:pt x="1425" y="1180"/>
                      <a:pt x="1426" y="1180"/>
                    </a:cubicBezTo>
                    <a:lnTo>
                      <a:pt x="1427" y="1179"/>
                    </a:lnTo>
                    <a:lnTo>
                      <a:pt x="1427" y="1191"/>
                    </a:lnTo>
                    <a:lnTo>
                      <a:pt x="1391" y="1162"/>
                    </a:lnTo>
                    <a:lnTo>
                      <a:pt x="1365" y="1140"/>
                    </a:lnTo>
                    <a:lnTo>
                      <a:pt x="1345" y="1124"/>
                    </a:lnTo>
                    <a:lnTo>
                      <a:pt x="1333" y="1112"/>
                    </a:lnTo>
                    <a:lnTo>
                      <a:pt x="1321" y="1103"/>
                    </a:lnTo>
                    <a:lnTo>
                      <a:pt x="1323" y="1104"/>
                    </a:lnTo>
                    <a:lnTo>
                      <a:pt x="1321" y="1103"/>
                    </a:lnTo>
                    <a:cubicBezTo>
                      <a:pt x="1317" y="1101"/>
                      <a:pt x="1316" y="1097"/>
                      <a:pt x="1317" y="1093"/>
                    </a:cubicBezTo>
                    <a:lnTo>
                      <a:pt x="1326" y="1064"/>
                    </a:lnTo>
                    <a:lnTo>
                      <a:pt x="1325" y="1066"/>
                    </a:lnTo>
                    <a:lnTo>
                      <a:pt x="1326" y="1036"/>
                    </a:lnTo>
                    <a:cubicBezTo>
                      <a:pt x="1327" y="1033"/>
                      <a:pt x="1329" y="1029"/>
                      <a:pt x="1333" y="1029"/>
                    </a:cubicBezTo>
                    <a:lnTo>
                      <a:pt x="1381" y="1019"/>
                    </a:lnTo>
                    <a:lnTo>
                      <a:pt x="1417" y="1012"/>
                    </a:lnTo>
                    <a:lnTo>
                      <a:pt x="1443" y="1006"/>
                    </a:lnTo>
                    <a:lnTo>
                      <a:pt x="1461" y="1003"/>
                    </a:lnTo>
                    <a:lnTo>
                      <a:pt x="1471" y="1001"/>
                    </a:lnTo>
                    <a:lnTo>
                      <a:pt x="1476" y="999"/>
                    </a:lnTo>
                    <a:cubicBezTo>
                      <a:pt x="1477" y="999"/>
                      <a:pt x="1478" y="998"/>
                      <a:pt x="1478" y="998"/>
                    </a:cubicBezTo>
                    <a:lnTo>
                      <a:pt x="1480" y="998"/>
                    </a:lnTo>
                    <a:lnTo>
                      <a:pt x="1472" y="1006"/>
                    </a:lnTo>
                    <a:lnTo>
                      <a:pt x="1472" y="980"/>
                    </a:lnTo>
                    <a:lnTo>
                      <a:pt x="1472" y="960"/>
                    </a:lnTo>
                    <a:lnTo>
                      <a:pt x="1472" y="937"/>
                    </a:lnTo>
                    <a:lnTo>
                      <a:pt x="1472" y="928"/>
                    </a:lnTo>
                    <a:lnTo>
                      <a:pt x="1472" y="927"/>
                    </a:lnTo>
                    <a:lnTo>
                      <a:pt x="1479" y="935"/>
                    </a:lnTo>
                    <a:lnTo>
                      <a:pt x="1431" y="925"/>
                    </a:lnTo>
                    <a:lnTo>
                      <a:pt x="1395" y="918"/>
                    </a:lnTo>
                    <a:lnTo>
                      <a:pt x="1369" y="913"/>
                    </a:lnTo>
                    <a:lnTo>
                      <a:pt x="1351" y="910"/>
                    </a:lnTo>
                    <a:lnTo>
                      <a:pt x="1341" y="908"/>
                    </a:lnTo>
                    <a:lnTo>
                      <a:pt x="1334" y="906"/>
                    </a:lnTo>
                    <a:lnTo>
                      <a:pt x="1336" y="906"/>
                    </a:lnTo>
                    <a:lnTo>
                      <a:pt x="1334" y="906"/>
                    </a:lnTo>
                    <a:cubicBezTo>
                      <a:pt x="1330" y="906"/>
                      <a:pt x="1327" y="903"/>
                      <a:pt x="1326" y="899"/>
                    </a:cubicBezTo>
                    <a:lnTo>
                      <a:pt x="1325" y="869"/>
                    </a:lnTo>
                    <a:lnTo>
                      <a:pt x="1326" y="871"/>
                    </a:lnTo>
                    <a:lnTo>
                      <a:pt x="1317" y="841"/>
                    </a:lnTo>
                    <a:cubicBezTo>
                      <a:pt x="1316" y="838"/>
                      <a:pt x="1317" y="834"/>
                      <a:pt x="1319" y="832"/>
                    </a:cubicBezTo>
                    <a:lnTo>
                      <a:pt x="1355" y="803"/>
                    </a:lnTo>
                    <a:lnTo>
                      <a:pt x="1381" y="781"/>
                    </a:lnTo>
                    <a:lnTo>
                      <a:pt x="1401" y="765"/>
                    </a:lnTo>
                    <a:lnTo>
                      <a:pt x="1414" y="754"/>
                    </a:lnTo>
                    <a:lnTo>
                      <a:pt x="1425" y="745"/>
                    </a:lnTo>
                    <a:cubicBezTo>
                      <a:pt x="1426" y="744"/>
                      <a:pt x="1426" y="744"/>
                      <a:pt x="1427" y="743"/>
                    </a:cubicBezTo>
                    <a:lnTo>
                      <a:pt x="1429" y="742"/>
                    </a:lnTo>
                    <a:lnTo>
                      <a:pt x="1425" y="753"/>
                    </a:lnTo>
                    <a:lnTo>
                      <a:pt x="1412" y="727"/>
                    </a:lnTo>
                    <a:lnTo>
                      <a:pt x="1402" y="707"/>
                    </a:lnTo>
                    <a:lnTo>
                      <a:pt x="1391" y="684"/>
                    </a:lnTo>
                    <a:lnTo>
                      <a:pt x="1387" y="675"/>
                    </a:lnTo>
                    <a:lnTo>
                      <a:pt x="1389" y="677"/>
                    </a:lnTo>
                    <a:lnTo>
                      <a:pt x="1388" y="676"/>
                    </a:lnTo>
                    <a:lnTo>
                      <a:pt x="1396" y="678"/>
                    </a:lnTo>
                    <a:lnTo>
                      <a:pt x="1351" y="695"/>
                    </a:lnTo>
                    <a:lnTo>
                      <a:pt x="1317" y="707"/>
                    </a:lnTo>
                    <a:lnTo>
                      <a:pt x="1292" y="716"/>
                    </a:lnTo>
                    <a:lnTo>
                      <a:pt x="1276" y="722"/>
                    </a:lnTo>
                    <a:lnTo>
                      <a:pt x="1266" y="725"/>
                    </a:lnTo>
                    <a:lnTo>
                      <a:pt x="1261" y="727"/>
                    </a:lnTo>
                    <a:lnTo>
                      <a:pt x="1260" y="728"/>
                    </a:lnTo>
                    <a:cubicBezTo>
                      <a:pt x="1257" y="729"/>
                      <a:pt x="1253" y="729"/>
                      <a:pt x="1251" y="726"/>
                    </a:cubicBezTo>
                    <a:lnTo>
                      <a:pt x="1232" y="706"/>
                    </a:lnTo>
                    <a:lnTo>
                      <a:pt x="1212" y="686"/>
                    </a:lnTo>
                    <a:cubicBezTo>
                      <a:pt x="1210" y="684"/>
                      <a:pt x="1209" y="681"/>
                      <a:pt x="1210" y="678"/>
                    </a:cubicBezTo>
                    <a:lnTo>
                      <a:pt x="1226" y="632"/>
                    </a:lnTo>
                    <a:lnTo>
                      <a:pt x="1238" y="598"/>
                    </a:lnTo>
                    <a:lnTo>
                      <a:pt x="1247" y="574"/>
                    </a:lnTo>
                    <a:lnTo>
                      <a:pt x="1253" y="557"/>
                    </a:lnTo>
                    <a:lnTo>
                      <a:pt x="1256" y="547"/>
                    </a:lnTo>
                    <a:lnTo>
                      <a:pt x="1258" y="541"/>
                    </a:lnTo>
                    <a:lnTo>
                      <a:pt x="1259" y="539"/>
                    </a:lnTo>
                    <a:lnTo>
                      <a:pt x="1262" y="549"/>
                    </a:lnTo>
                    <a:lnTo>
                      <a:pt x="1240" y="536"/>
                    </a:lnTo>
                    <a:lnTo>
                      <a:pt x="1223" y="526"/>
                    </a:lnTo>
                    <a:lnTo>
                      <a:pt x="1203" y="514"/>
                    </a:lnTo>
                    <a:lnTo>
                      <a:pt x="1196" y="511"/>
                    </a:lnTo>
                    <a:cubicBezTo>
                      <a:pt x="1195" y="510"/>
                      <a:pt x="1194" y="510"/>
                      <a:pt x="1194" y="509"/>
                    </a:cubicBezTo>
                    <a:lnTo>
                      <a:pt x="1193" y="508"/>
                    </a:lnTo>
                    <a:lnTo>
                      <a:pt x="1204" y="508"/>
                    </a:lnTo>
                    <a:lnTo>
                      <a:pt x="1172" y="544"/>
                    </a:lnTo>
                    <a:lnTo>
                      <a:pt x="1147" y="571"/>
                    </a:lnTo>
                    <a:lnTo>
                      <a:pt x="1130" y="590"/>
                    </a:lnTo>
                    <a:lnTo>
                      <a:pt x="1118" y="603"/>
                    </a:lnTo>
                    <a:lnTo>
                      <a:pt x="1109" y="615"/>
                    </a:lnTo>
                    <a:lnTo>
                      <a:pt x="1106" y="617"/>
                    </a:lnTo>
                    <a:cubicBezTo>
                      <a:pt x="1104" y="619"/>
                      <a:pt x="1102" y="620"/>
                      <a:pt x="1099" y="619"/>
                    </a:cubicBezTo>
                    <a:lnTo>
                      <a:pt x="1070" y="614"/>
                    </a:lnTo>
                    <a:lnTo>
                      <a:pt x="1041" y="609"/>
                    </a:lnTo>
                    <a:cubicBezTo>
                      <a:pt x="1038" y="609"/>
                      <a:pt x="1035" y="606"/>
                      <a:pt x="1035" y="603"/>
                    </a:cubicBezTo>
                    <a:lnTo>
                      <a:pt x="1028" y="554"/>
                    </a:lnTo>
                    <a:lnTo>
                      <a:pt x="1023" y="517"/>
                    </a:lnTo>
                    <a:lnTo>
                      <a:pt x="1020" y="490"/>
                    </a:lnTo>
                    <a:lnTo>
                      <a:pt x="1018" y="473"/>
                    </a:lnTo>
                    <a:lnTo>
                      <a:pt x="1016" y="463"/>
                    </a:lnTo>
                    <a:lnTo>
                      <a:pt x="1015" y="457"/>
                    </a:lnTo>
                    <a:cubicBezTo>
                      <a:pt x="1014" y="456"/>
                      <a:pt x="1014" y="456"/>
                      <a:pt x="1014" y="455"/>
                    </a:cubicBezTo>
                    <a:lnTo>
                      <a:pt x="1014" y="453"/>
                    </a:lnTo>
                    <a:lnTo>
                      <a:pt x="1022" y="461"/>
                    </a:lnTo>
                    <a:lnTo>
                      <a:pt x="993" y="461"/>
                    </a:lnTo>
                    <a:lnTo>
                      <a:pt x="972" y="461"/>
                    </a:lnTo>
                    <a:lnTo>
                      <a:pt x="956" y="461"/>
                    </a:lnTo>
                    <a:lnTo>
                      <a:pt x="946" y="461"/>
                    </a:lnTo>
                    <a:lnTo>
                      <a:pt x="936" y="461"/>
                    </a:lnTo>
                    <a:lnTo>
                      <a:pt x="935" y="461"/>
                    </a:lnTo>
                    <a:lnTo>
                      <a:pt x="943" y="455"/>
                    </a:lnTo>
                    <a:lnTo>
                      <a:pt x="936" y="504"/>
                    </a:lnTo>
                    <a:lnTo>
                      <a:pt x="931" y="541"/>
                    </a:lnTo>
                    <a:lnTo>
                      <a:pt x="928" y="566"/>
                    </a:lnTo>
                    <a:lnTo>
                      <a:pt x="926" y="584"/>
                    </a:lnTo>
                    <a:lnTo>
                      <a:pt x="924" y="595"/>
                    </a:lnTo>
                    <a:lnTo>
                      <a:pt x="923" y="601"/>
                    </a:lnTo>
                    <a:lnTo>
                      <a:pt x="923" y="599"/>
                    </a:lnTo>
                    <a:lnTo>
                      <a:pt x="923" y="601"/>
                    </a:lnTo>
                    <a:cubicBezTo>
                      <a:pt x="923" y="605"/>
                      <a:pt x="921" y="609"/>
                      <a:pt x="917" y="609"/>
                    </a:cubicBezTo>
                    <a:lnTo>
                      <a:pt x="888" y="614"/>
                    </a:lnTo>
                    <a:lnTo>
                      <a:pt x="859" y="619"/>
                    </a:lnTo>
                    <a:cubicBezTo>
                      <a:pt x="854" y="620"/>
                      <a:pt x="850" y="617"/>
                      <a:pt x="850" y="613"/>
                    </a:cubicBezTo>
                    <a:cubicBezTo>
                      <a:pt x="849" y="608"/>
                      <a:pt x="852" y="604"/>
                      <a:pt x="856" y="604"/>
                    </a:cubicBezTo>
                    <a:lnTo>
                      <a:pt x="885" y="599"/>
                    </a:lnTo>
                    <a:lnTo>
                      <a:pt x="914" y="594"/>
                    </a:lnTo>
                    <a:lnTo>
                      <a:pt x="907" y="601"/>
                    </a:lnTo>
                    <a:lnTo>
                      <a:pt x="907" y="599"/>
                    </a:lnTo>
                    <a:cubicBezTo>
                      <a:pt x="907" y="599"/>
                      <a:pt x="907" y="599"/>
                      <a:pt x="908" y="598"/>
                    </a:cubicBezTo>
                    <a:lnTo>
                      <a:pt x="909" y="592"/>
                    </a:lnTo>
                    <a:lnTo>
                      <a:pt x="911" y="583"/>
                    </a:lnTo>
                    <a:lnTo>
                      <a:pt x="913" y="565"/>
                    </a:lnTo>
                    <a:lnTo>
                      <a:pt x="916" y="538"/>
                    </a:lnTo>
                    <a:lnTo>
                      <a:pt x="921" y="501"/>
                    </a:lnTo>
                    <a:lnTo>
                      <a:pt x="928" y="452"/>
                    </a:lnTo>
                    <a:cubicBezTo>
                      <a:pt x="928" y="448"/>
                      <a:pt x="931" y="445"/>
                      <a:pt x="935" y="445"/>
                    </a:cubicBezTo>
                    <a:lnTo>
                      <a:pt x="936" y="445"/>
                    </a:lnTo>
                    <a:lnTo>
                      <a:pt x="946" y="445"/>
                    </a:lnTo>
                    <a:lnTo>
                      <a:pt x="956" y="445"/>
                    </a:lnTo>
                    <a:lnTo>
                      <a:pt x="972" y="445"/>
                    </a:lnTo>
                    <a:lnTo>
                      <a:pt x="993" y="445"/>
                    </a:lnTo>
                    <a:lnTo>
                      <a:pt x="1022" y="445"/>
                    </a:lnTo>
                    <a:cubicBezTo>
                      <a:pt x="1027" y="445"/>
                      <a:pt x="1030" y="449"/>
                      <a:pt x="1030" y="453"/>
                    </a:cubicBezTo>
                    <a:lnTo>
                      <a:pt x="1030" y="455"/>
                    </a:lnTo>
                    <a:lnTo>
                      <a:pt x="1030" y="454"/>
                    </a:lnTo>
                    <a:lnTo>
                      <a:pt x="1031" y="460"/>
                    </a:lnTo>
                    <a:lnTo>
                      <a:pt x="1033" y="472"/>
                    </a:lnTo>
                    <a:lnTo>
                      <a:pt x="1035" y="489"/>
                    </a:lnTo>
                    <a:lnTo>
                      <a:pt x="1038" y="514"/>
                    </a:lnTo>
                    <a:lnTo>
                      <a:pt x="1043" y="551"/>
                    </a:lnTo>
                    <a:lnTo>
                      <a:pt x="1050" y="600"/>
                    </a:lnTo>
                    <a:lnTo>
                      <a:pt x="1044" y="594"/>
                    </a:lnTo>
                    <a:lnTo>
                      <a:pt x="1073" y="599"/>
                    </a:lnTo>
                    <a:lnTo>
                      <a:pt x="1102" y="604"/>
                    </a:lnTo>
                    <a:lnTo>
                      <a:pt x="1095" y="606"/>
                    </a:lnTo>
                    <a:lnTo>
                      <a:pt x="1096" y="604"/>
                    </a:lnTo>
                    <a:lnTo>
                      <a:pt x="1107" y="592"/>
                    </a:lnTo>
                    <a:lnTo>
                      <a:pt x="1118" y="579"/>
                    </a:lnTo>
                    <a:lnTo>
                      <a:pt x="1136" y="560"/>
                    </a:lnTo>
                    <a:lnTo>
                      <a:pt x="1160" y="533"/>
                    </a:lnTo>
                    <a:lnTo>
                      <a:pt x="1192" y="497"/>
                    </a:lnTo>
                    <a:cubicBezTo>
                      <a:pt x="1194" y="495"/>
                      <a:pt x="1196" y="495"/>
                      <a:pt x="1198" y="494"/>
                    </a:cubicBezTo>
                    <a:cubicBezTo>
                      <a:pt x="1200" y="494"/>
                      <a:pt x="1203" y="495"/>
                      <a:pt x="1204" y="497"/>
                    </a:cubicBezTo>
                    <a:lnTo>
                      <a:pt x="1205" y="498"/>
                    </a:lnTo>
                    <a:lnTo>
                      <a:pt x="1203" y="496"/>
                    </a:lnTo>
                    <a:lnTo>
                      <a:pt x="1212" y="501"/>
                    </a:lnTo>
                    <a:lnTo>
                      <a:pt x="1232" y="513"/>
                    </a:lnTo>
                    <a:lnTo>
                      <a:pt x="1249" y="523"/>
                    </a:lnTo>
                    <a:lnTo>
                      <a:pt x="1271" y="536"/>
                    </a:lnTo>
                    <a:cubicBezTo>
                      <a:pt x="1274" y="538"/>
                      <a:pt x="1276" y="542"/>
                      <a:pt x="1274" y="546"/>
                    </a:cubicBezTo>
                    <a:lnTo>
                      <a:pt x="1273" y="547"/>
                    </a:lnTo>
                    <a:lnTo>
                      <a:pt x="1271" y="552"/>
                    </a:lnTo>
                    <a:lnTo>
                      <a:pt x="1268" y="562"/>
                    </a:lnTo>
                    <a:lnTo>
                      <a:pt x="1262" y="579"/>
                    </a:lnTo>
                    <a:lnTo>
                      <a:pt x="1253" y="603"/>
                    </a:lnTo>
                    <a:lnTo>
                      <a:pt x="1241" y="637"/>
                    </a:lnTo>
                    <a:lnTo>
                      <a:pt x="1225" y="683"/>
                    </a:lnTo>
                    <a:lnTo>
                      <a:pt x="1223" y="675"/>
                    </a:lnTo>
                    <a:lnTo>
                      <a:pt x="1243" y="695"/>
                    </a:lnTo>
                    <a:lnTo>
                      <a:pt x="1262" y="715"/>
                    </a:lnTo>
                    <a:lnTo>
                      <a:pt x="1253" y="713"/>
                    </a:lnTo>
                    <a:lnTo>
                      <a:pt x="1255" y="712"/>
                    </a:lnTo>
                    <a:lnTo>
                      <a:pt x="1261" y="710"/>
                    </a:lnTo>
                    <a:lnTo>
                      <a:pt x="1271" y="707"/>
                    </a:lnTo>
                    <a:lnTo>
                      <a:pt x="1287" y="701"/>
                    </a:lnTo>
                    <a:lnTo>
                      <a:pt x="1312" y="692"/>
                    </a:lnTo>
                    <a:lnTo>
                      <a:pt x="1346" y="680"/>
                    </a:lnTo>
                    <a:lnTo>
                      <a:pt x="1391" y="663"/>
                    </a:lnTo>
                    <a:cubicBezTo>
                      <a:pt x="1394" y="662"/>
                      <a:pt x="1397" y="663"/>
                      <a:pt x="1399" y="665"/>
                    </a:cubicBezTo>
                    <a:lnTo>
                      <a:pt x="1400" y="666"/>
                    </a:lnTo>
                    <a:cubicBezTo>
                      <a:pt x="1401" y="666"/>
                      <a:pt x="1401" y="667"/>
                      <a:pt x="1402" y="668"/>
                    </a:cubicBezTo>
                    <a:lnTo>
                      <a:pt x="1406" y="677"/>
                    </a:lnTo>
                    <a:lnTo>
                      <a:pt x="1417" y="700"/>
                    </a:lnTo>
                    <a:lnTo>
                      <a:pt x="1427" y="720"/>
                    </a:lnTo>
                    <a:lnTo>
                      <a:pt x="1440" y="746"/>
                    </a:lnTo>
                    <a:cubicBezTo>
                      <a:pt x="1442" y="750"/>
                      <a:pt x="1440" y="755"/>
                      <a:pt x="1436" y="757"/>
                    </a:cubicBezTo>
                    <a:lnTo>
                      <a:pt x="1434" y="758"/>
                    </a:lnTo>
                    <a:lnTo>
                      <a:pt x="1436" y="756"/>
                    </a:lnTo>
                    <a:lnTo>
                      <a:pt x="1425" y="767"/>
                    </a:lnTo>
                    <a:lnTo>
                      <a:pt x="1411" y="778"/>
                    </a:lnTo>
                    <a:lnTo>
                      <a:pt x="1392" y="794"/>
                    </a:lnTo>
                    <a:lnTo>
                      <a:pt x="1365" y="816"/>
                    </a:lnTo>
                    <a:lnTo>
                      <a:pt x="1329" y="845"/>
                    </a:lnTo>
                    <a:lnTo>
                      <a:pt x="1332" y="836"/>
                    </a:lnTo>
                    <a:lnTo>
                      <a:pt x="1341" y="866"/>
                    </a:lnTo>
                    <a:cubicBezTo>
                      <a:pt x="1341" y="867"/>
                      <a:pt x="1341" y="868"/>
                      <a:pt x="1341" y="868"/>
                    </a:cubicBezTo>
                    <a:lnTo>
                      <a:pt x="1342" y="898"/>
                    </a:lnTo>
                    <a:lnTo>
                      <a:pt x="1334" y="890"/>
                    </a:lnTo>
                    <a:lnTo>
                      <a:pt x="1336" y="890"/>
                    </a:lnTo>
                    <a:cubicBezTo>
                      <a:pt x="1337" y="890"/>
                      <a:pt x="1338" y="891"/>
                      <a:pt x="1339" y="891"/>
                    </a:cubicBezTo>
                    <a:lnTo>
                      <a:pt x="1344" y="893"/>
                    </a:lnTo>
                    <a:lnTo>
                      <a:pt x="1354" y="895"/>
                    </a:lnTo>
                    <a:lnTo>
                      <a:pt x="1372" y="898"/>
                    </a:lnTo>
                    <a:lnTo>
                      <a:pt x="1398" y="903"/>
                    </a:lnTo>
                    <a:lnTo>
                      <a:pt x="1434" y="910"/>
                    </a:lnTo>
                    <a:lnTo>
                      <a:pt x="1482" y="920"/>
                    </a:lnTo>
                    <a:cubicBezTo>
                      <a:pt x="1486" y="920"/>
                      <a:pt x="1488" y="924"/>
                      <a:pt x="1488" y="927"/>
                    </a:cubicBezTo>
                    <a:lnTo>
                      <a:pt x="1488" y="928"/>
                    </a:lnTo>
                    <a:lnTo>
                      <a:pt x="1488" y="937"/>
                    </a:lnTo>
                    <a:lnTo>
                      <a:pt x="1488" y="960"/>
                    </a:lnTo>
                    <a:lnTo>
                      <a:pt x="1488" y="980"/>
                    </a:lnTo>
                    <a:lnTo>
                      <a:pt x="1488" y="1006"/>
                    </a:lnTo>
                    <a:cubicBezTo>
                      <a:pt x="1488" y="1011"/>
                      <a:pt x="1485" y="1014"/>
                      <a:pt x="1480" y="1014"/>
                    </a:cubicBezTo>
                    <a:lnTo>
                      <a:pt x="1478" y="1014"/>
                    </a:lnTo>
                    <a:lnTo>
                      <a:pt x="1481" y="1014"/>
                    </a:lnTo>
                    <a:lnTo>
                      <a:pt x="1474" y="1016"/>
                    </a:lnTo>
                    <a:lnTo>
                      <a:pt x="1464" y="1018"/>
                    </a:lnTo>
                    <a:lnTo>
                      <a:pt x="1446" y="1021"/>
                    </a:lnTo>
                    <a:lnTo>
                      <a:pt x="1420" y="1027"/>
                    </a:lnTo>
                    <a:lnTo>
                      <a:pt x="1384" y="1034"/>
                    </a:lnTo>
                    <a:lnTo>
                      <a:pt x="1336" y="1044"/>
                    </a:lnTo>
                    <a:lnTo>
                      <a:pt x="1342" y="1037"/>
                    </a:lnTo>
                    <a:lnTo>
                      <a:pt x="1341" y="1067"/>
                    </a:lnTo>
                    <a:cubicBezTo>
                      <a:pt x="1341" y="1067"/>
                      <a:pt x="1341" y="1068"/>
                      <a:pt x="1341" y="1069"/>
                    </a:cubicBezTo>
                    <a:lnTo>
                      <a:pt x="1332" y="1098"/>
                    </a:lnTo>
                    <a:lnTo>
                      <a:pt x="1328" y="1088"/>
                    </a:lnTo>
                    <a:lnTo>
                      <a:pt x="1330" y="1089"/>
                    </a:lnTo>
                    <a:cubicBezTo>
                      <a:pt x="1331" y="1090"/>
                      <a:pt x="1331" y="1090"/>
                      <a:pt x="1332" y="1090"/>
                    </a:cubicBezTo>
                    <a:lnTo>
                      <a:pt x="1344" y="1101"/>
                    </a:lnTo>
                    <a:lnTo>
                      <a:pt x="1355" y="1111"/>
                    </a:lnTo>
                    <a:lnTo>
                      <a:pt x="1376" y="1127"/>
                    </a:lnTo>
                    <a:lnTo>
                      <a:pt x="1401" y="1149"/>
                    </a:lnTo>
                    <a:lnTo>
                      <a:pt x="1437" y="1178"/>
                    </a:lnTo>
                    <a:cubicBezTo>
                      <a:pt x="1439" y="1180"/>
                      <a:pt x="1440" y="1182"/>
                      <a:pt x="1440" y="1184"/>
                    </a:cubicBezTo>
                    <a:cubicBezTo>
                      <a:pt x="1441" y="1186"/>
                      <a:pt x="1440" y="1189"/>
                      <a:pt x="1438" y="1190"/>
                    </a:cubicBezTo>
                    <a:lnTo>
                      <a:pt x="1437" y="1191"/>
                    </a:lnTo>
                    <a:lnTo>
                      <a:pt x="1439" y="1189"/>
                    </a:lnTo>
                    <a:lnTo>
                      <a:pt x="1434" y="1197"/>
                    </a:lnTo>
                    <a:lnTo>
                      <a:pt x="1423" y="1218"/>
                    </a:lnTo>
                    <a:lnTo>
                      <a:pt x="1413" y="1234"/>
                    </a:lnTo>
                    <a:lnTo>
                      <a:pt x="1400" y="1257"/>
                    </a:lnTo>
                    <a:cubicBezTo>
                      <a:pt x="1398" y="1261"/>
                      <a:pt x="1394" y="1263"/>
                      <a:pt x="1390" y="1261"/>
                    </a:cubicBezTo>
                    <a:lnTo>
                      <a:pt x="1388" y="1260"/>
                    </a:lnTo>
                    <a:lnTo>
                      <a:pt x="1384" y="1258"/>
                    </a:lnTo>
                    <a:lnTo>
                      <a:pt x="1374" y="1255"/>
                    </a:lnTo>
                    <a:lnTo>
                      <a:pt x="1358" y="1249"/>
                    </a:lnTo>
                    <a:lnTo>
                      <a:pt x="1333" y="1240"/>
                    </a:lnTo>
                    <a:lnTo>
                      <a:pt x="1299" y="1228"/>
                    </a:lnTo>
                    <a:lnTo>
                      <a:pt x="1254" y="1212"/>
                    </a:lnTo>
                    <a:lnTo>
                      <a:pt x="1263" y="1209"/>
                    </a:lnTo>
                    <a:lnTo>
                      <a:pt x="1244" y="1235"/>
                    </a:lnTo>
                    <a:lnTo>
                      <a:pt x="1224" y="1259"/>
                    </a:lnTo>
                    <a:lnTo>
                      <a:pt x="1225" y="1250"/>
                    </a:lnTo>
                    <a:lnTo>
                      <a:pt x="1226" y="1252"/>
                    </a:lnTo>
                    <a:lnTo>
                      <a:pt x="1228" y="1258"/>
                    </a:lnTo>
                    <a:lnTo>
                      <a:pt x="1231" y="1268"/>
                    </a:lnTo>
                    <a:lnTo>
                      <a:pt x="1237" y="1285"/>
                    </a:lnTo>
                    <a:lnTo>
                      <a:pt x="1246" y="1310"/>
                    </a:lnTo>
                    <a:lnTo>
                      <a:pt x="1258" y="1344"/>
                    </a:lnTo>
                    <a:lnTo>
                      <a:pt x="1274" y="1390"/>
                    </a:lnTo>
                    <a:cubicBezTo>
                      <a:pt x="1275" y="1393"/>
                      <a:pt x="1274" y="1396"/>
                      <a:pt x="1272" y="1398"/>
                    </a:cubicBezTo>
                    <a:lnTo>
                      <a:pt x="1271" y="1399"/>
                    </a:lnTo>
                    <a:cubicBezTo>
                      <a:pt x="1271" y="1400"/>
                      <a:pt x="1270" y="1400"/>
                      <a:pt x="1269" y="1400"/>
                    </a:cubicBezTo>
                    <a:lnTo>
                      <a:pt x="1262" y="1405"/>
                    </a:lnTo>
                    <a:lnTo>
                      <a:pt x="1242" y="1415"/>
                    </a:lnTo>
                    <a:lnTo>
                      <a:pt x="1225" y="1425"/>
                    </a:lnTo>
                    <a:lnTo>
                      <a:pt x="1203" y="1438"/>
                    </a:lnTo>
                    <a:cubicBezTo>
                      <a:pt x="1199" y="1440"/>
                      <a:pt x="1195" y="1440"/>
                      <a:pt x="1193" y="1437"/>
                    </a:cubicBezTo>
                    <a:lnTo>
                      <a:pt x="1190" y="1434"/>
                    </a:lnTo>
                    <a:lnTo>
                      <a:pt x="1180" y="1422"/>
                    </a:lnTo>
                    <a:lnTo>
                      <a:pt x="1168" y="1408"/>
                    </a:lnTo>
                    <a:lnTo>
                      <a:pt x="1151" y="1387"/>
                    </a:lnTo>
                    <a:lnTo>
                      <a:pt x="1126" y="1358"/>
                    </a:lnTo>
                    <a:lnTo>
                      <a:pt x="1094" y="1319"/>
                    </a:lnTo>
                    <a:lnTo>
                      <a:pt x="1104" y="1321"/>
                    </a:lnTo>
                    <a:lnTo>
                      <a:pt x="1075" y="1334"/>
                    </a:lnTo>
                    <a:cubicBezTo>
                      <a:pt x="1074" y="1334"/>
                      <a:pt x="1074" y="1334"/>
                      <a:pt x="1073" y="1334"/>
                    </a:cubicBezTo>
                    <a:lnTo>
                      <a:pt x="1044" y="1340"/>
                    </a:lnTo>
                    <a:lnTo>
                      <a:pt x="1050" y="1332"/>
                    </a:lnTo>
                    <a:lnTo>
                      <a:pt x="1050" y="1334"/>
                    </a:lnTo>
                    <a:cubicBezTo>
                      <a:pt x="1050" y="1335"/>
                      <a:pt x="1050" y="1335"/>
                      <a:pt x="1050" y="1336"/>
                    </a:cubicBezTo>
                    <a:lnTo>
                      <a:pt x="1049" y="1341"/>
                    </a:lnTo>
                    <a:lnTo>
                      <a:pt x="1048" y="1353"/>
                    </a:lnTo>
                    <a:lnTo>
                      <a:pt x="1045" y="1369"/>
                    </a:lnTo>
                    <a:lnTo>
                      <a:pt x="1042" y="1396"/>
                    </a:lnTo>
                    <a:lnTo>
                      <a:pt x="1037" y="1433"/>
                    </a:lnTo>
                    <a:lnTo>
                      <a:pt x="1030" y="1482"/>
                    </a:lnTo>
                    <a:cubicBezTo>
                      <a:pt x="1030" y="1486"/>
                      <a:pt x="1026" y="1488"/>
                      <a:pt x="1022" y="1488"/>
                    </a:cubicBezTo>
                    <a:lnTo>
                      <a:pt x="1021" y="1488"/>
                    </a:lnTo>
                    <a:lnTo>
                      <a:pt x="1011" y="1488"/>
                    </a:lnTo>
                    <a:lnTo>
                      <a:pt x="1001" y="1488"/>
                    </a:lnTo>
                    <a:lnTo>
                      <a:pt x="985" y="1488"/>
                    </a:lnTo>
                    <a:lnTo>
                      <a:pt x="964" y="1488"/>
                    </a:lnTo>
                    <a:lnTo>
                      <a:pt x="935" y="1488"/>
                    </a:lnTo>
                    <a:cubicBezTo>
                      <a:pt x="931" y="1488"/>
                      <a:pt x="927" y="1485"/>
                      <a:pt x="927" y="1480"/>
                    </a:cubicBezTo>
                    <a:lnTo>
                      <a:pt x="927" y="1478"/>
                    </a:lnTo>
                    <a:lnTo>
                      <a:pt x="928" y="1480"/>
                    </a:lnTo>
                    <a:lnTo>
                      <a:pt x="926" y="1473"/>
                    </a:lnTo>
                    <a:lnTo>
                      <a:pt x="926" y="1464"/>
                    </a:lnTo>
                    <a:lnTo>
                      <a:pt x="923" y="1445"/>
                    </a:lnTo>
                    <a:lnTo>
                      <a:pt x="920" y="1420"/>
                    </a:lnTo>
                    <a:lnTo>
                      <a:pt x="915" y="1383"/>
                    </a:lnTo>
                    <a:lnTo>
                      <a:pt x="908" y="1334"/>
                    </a:lnTo>
                    <a:lnTo>
                      <a:pt x="914" y="1340"/>
                    </a:lnTo>
                    <a:lnTo>
                      <a:pt x="885" y="1334"/>
                    </a:lnTo>
                    <a:cubicBezTo>
                      <a:pt x="884" y="1334"/>
                      <a:pt x="884" y="1334"/>
                      <a:pt x="883" y="1334"/>
                    </a:cubicBezTo>
                    <a:lnTo>
                      <a:pt x="854" y="1321"/>
                    </a:lnTo>
                    <a:lnTo>
                      <a:pt x="863" y="1319"/>
                    </a:lnTo>
                    <a:lnTo>
                      <a:pt x="862" y="1320"/>
                    </a:lnTo>
                    <a:lnTo>
                      <a:pt x="852" y="1334"/>
                    </a:lnTo>
                    <a:lnTo>
                      <a:pt x="840" y="1348"/>
                    </a:lnTo>
                    <a:lnTo>
                      <a:pt x="823" y="1369"/>
                    </a:lnTo>
                    <a:lnTo>
                      <a:pt x="798" y="1398"/>
                    </a:lnTo>
                    <a:lnTo>
                      <a:pt x="766" y="1437"/>
                    </a:lnTo>
                    <a:cubicBezTo>
                      <a:pt x="764" y="1438"/>
                      <a:pt x="762" y="1439"/>
                      <a:pt x="760" y="1439"/>
                    </a:cubicBezTo>
                    <a:cubicBezTo>
                      <a:pt x="758" y="1440"/>
                      <a:pt x="755" y="1439"/>
                      <a:pt x="754" y="1437"/>
                    </a:cubicBezTo>
                    <a:lnTo>
                      <a:pt x="753" y="1436"/>
                    </a:lnTo>
                    <a:lnTo>
                      <a:pt x="754" y="1437"/>
                    </a:lnTo>
                    <a:lnTo>
                      <a:pt x="748" y="1434"/>
                    </a:lnTo>
                    <a:lnTo>
                      <a:pt x="726" y="1422"/>
                    </a:lnTo>
                    <a:lnTo>
                      <a:pt x="709" y="1412"/>
                    </a:lnTo>
                    <a:lnTo>
                      <a:pt x="687" y="1399"/>
                    </a:lnTo>
                    <a:cubicBezTo>
                      <a:pt x="684" y="1397"/>
                      <a:pt x="682" y="1393"/>
                      <a:pt x="684" y="1389"/>
                    </a:cubicBezTo>
                    <a:lnTo>
                      <a:pt x="685" y="1387"/>
                    </a:lnTo>
                    <a:lnTo>
                      <a:pt x="687" y="1383"/>
                    </a:lnTo>
                    <a:lnTo>
                      <a:pt x="690" y="1373"/>
                    </a:lnTo>
                    <a:lnTo>
                      <a:pt x="696" y="1356"/>
                    </a:lnTo>
                    <a:lnTo>
                      <a:pt x="705" y="1331"/>
                    </a:lnTo>
                    <a:lnTo>
                      <a:pt x="717" y="1297"/>
                    </a:lnTo>
                    <a:lnTo>
                      <a:pt x="733" y="1251"/>
                    </a:lnTo>
                    <a:lnTo>
                      <a:pt x="735" y="1259"/>
                    </a:lnTo>
                    <a:lnTo>
                      <a:pt x="711" y="1235"/>
                    </a:lnTo>
                    <a:cubicBezTo>
                      <a:pt x="710" y="1235"/>
                      <a:pt x="710" y="1234"/>
                      <a:pt x="710" y="1234"/>
                    </a:cubicBezTo>
                    <a:lnTo>
                      <a:pt x="695" y="1209"/>
                    </a:lnTo>
                    <a:lnTo>
                      <a:pt x="705" y="1212"/>
                    </a:lnTo>
                    <a:lnTo>
                      <a:pt x="703" y="1213"/>
                    </a:lnTo>
                    <a:cubicBezTo>
                      <a:pt x="703" y="1213"/>
                      <a:pt x="702" y="1213"/>
                      <a:pt x="702" y="1213"/>
                    </a:cubicBezTo>
                    <a:lnTo>
                      <a:pt x="696" y="1215"/>
                    </a:lnTo>
                    <a:lnTo>
                      <a:pt x="686" y="1218"/>
                    </a:lnTo>
                    <a:lnTo>
                      <a:pt x="668" y="1224"/>
                    </a:lnTo>
                    <a:lnTo>
                      <a:pt x="642" y="1233"/>
                    </a:lnTo>
                    <a:lnTo>
                      <a:pt x="606" y="1245"/>
                    </a:lnTo>
                    <a:lnTo>
                      <a:pt x="557" y="1261"/>
                    </a:lnTo>
                    <a:cubicBezTo>
                      <a:pt x="554" y="1262"/>
                      <a:pt x="551" y="1261"/>
                      <a:pt x="549" y="1259"/>
                    </a:cubicBezTo>
                    <a:lnTo>
                      <a:pt x="548" y="1258"/>
                    </a:lnTo>
                    <a:cubicBezTo>
                      <a:pt x="547" y="1258"/>
                      <a:pt x="547" y="1257"/>
                      <a:pt x="546" y="1256"/>
                    </a:cubicBezTo>
                    <a:lnTo>
                      <a:pt x="542" y="1248"/>
                    </a:lnTo>
                    <a:lnTo>
                      <a:pt x="532" y="1229"/>
                    </a:lnTo>
                    <a:lnTo>
                      <a:pt x="521" y="1211"/>
                    </a:lnTo>
                    <a:lnTo>
                      <a:pt x="508" y="1188"/>
                    </a:lnTo>
                    <a:cubicBezTo>
                      <a:pt x="507" y="1186"/>
                      <a:pt x="507" y="1184"/>
                      <a:pt x="508" y="1182"/>
                    </a:cubicBezTo>
                    <a:cubicBezTo>
                      <a:pt x="508" y="1180"/>
                      <a:pt x="510" y="1178"/>
                      <a:pt x="512" y="1177"/>
                    </a:cubicBezTo>
                    <a:lnTo>
                      <a:pt x="514" y="1176"/>
                    </a:lnTo>
                    <a:lnTo>
                      <a:pt x="513" y="1177"/>
                    </a:lnTo>
                    <a:lnTo>
                      <a:pt x="526" y="1167"/>
                    </a:lnTo>
                    <a:lnTo>
                      <a:pt x="539" y="1156"/>
                    </a:lnTo>
                    <a:lnTo>
                      <a:pt x="560" y="1140"/>
                    </a:lnTo>
                    <a:lnTo>
                      <a:pt x="589" y="1118"/>
                    </a:lnTo>
                    <a:lnTo>
                      <a:pt x="628" y="1089"/>
                    </a:lnTo>
                    <a:lnTo>
                      <a:pt x="625" y="1098"/>
                    </a:lnTo>
                    <a:lnTo>
                      <a:pt x="616" y="1069"/>
                    </a:lnTo>
                    <a:lnTo>
                      <a:pt x="606" y="1039"/>
                    </a:lnTo>
                    <a:lnTo>
                      <a:pt x="613" y="1044"/>
                    </a:lnTo>
                    <a:lnTo>
                      <a:pt x="611" y="1044"/>
                    </a:lnTo>
                    <a:cubicBezTo>
                      <a:pt x="611" y="1044"/>
                      <a:pt x="610" y="1044"/>
                      <a:pt x="609" y="1044"/>
                    </a:cubicBezTo>
                    <a:lnTo>
                      <a:pt x="604" y="1042"/>
                    </a:lnTo>
                    <a:lnTo>
                      <a:pt x="594" y="1040"/>
                    </a:lnTo>
                    <a:lnTo>
                      <a:pt x="576" y="1037"/>
                    </a:lnTo>
                    <a:lnTo>
                      <a:pt x="550" y="1031"/>
                    </a:lnTo>
                    <a:lnTo>
                      <a:pt x="514" y="1024"/>
                    </a:lnTo>
                    <a:lnTo>
                      <a:pt x="466" y="1014"/>
                    </a:lnTo>
                    <a:cubicBezTo>
                      <a:pt x="462" y="1014"/>
                      <a:pt x="459" y="1010"/>
                      <a:pt x="459" y="1006"/>
                    </a:cubicBezTo>
                    <a:lnTo>
                      <a:pt x="459" y="1005"/>
                    </a:lnTo>
                    <a:lnTo>
                      <a:pt x="459" y="996"/>
                    </a:lnTo>
                    <a:lnTo>
                      <a:pt x="459" y="973"/>
                    </a:lnTo>
                    <a:lnTo>
                      <a:pt x="459" y="953"/>
                    </a:lnTo>
                    <a:lnTo>
                      <a:pt x="459" y="927"/>
                    </a:lnTo>
                    <a:cubicBezTo>
                      <a:pt x="459" y="923"/>
                      <a:pt x="463" y="919"/>
                      <a:pt x="467" y="919"/>
                    </a:cubicBezTo>
                    <a:lnTo>
                      <a:pt x="469" y="919"/>
                    </a:lnTo>
                    <a:lnTo>
                      <a:pt x="467" y="920"/>
                    </a:lnTo>
                    <a:lnTo>
                      <a:pt x="474" y="918"/>
                    </a:lnTo>
                    <a:lnTo>
                      <a:pt x="484" y="916"/>
                    </a:lnTo>
                    <a:lnTo>
                      <a:pt x="502" y="913"/>
                    </a:lnTo>
                    <a:lnTo>
                      <a:pt x="528" y="908"/>
                    </a:lnTo>
                    <a:lnTo>
                      <a:pt x="564" y="901"/>
                    </a:lnTo>
                    <a:lnTo>
                      <a:pt x="612" y="891"/>
                    </a:lnTo>
                    <a:lnTo>
                      <a:pt x="606" y="896"/>
                    </a:lnTo>
                    <a:lnTo>
                      <a:pt x="616" y="866"/>
                    </a:lnTo>
                    <a:lnTo>
                      <a:pt x="625" y="836"/>
                    </a:lnTo>
                    <a:lnTo>
                      <a:pt x="629" y="846"/>
                    </a:lnTo>
                    <a:lnTo>
                      <a:pt x="627" y="845"/>
                    </a:lnTo>
                    <a:cubicBezTo>
                      <a:pt x="626" y="844"/>
                      <a:pt x="626" y="844"/>
                      <a:pt x="626" y="844"/>
                    </a:cubicBezTo>
                    <a:lnTo>
                      <a:pt x="613" y="834"/>
                    </a:lnTo>
                    <a:lnTo>
                      <a:pt x="598" y="823"/>
                    </a:lnTo>
                    <a:lnTo>
                      <a:pt x="579" y="807"/>
                    </a:lnTo>
                    <a:lnTo>
                      <a:pt x="550" y="785"/>
                    </a:lnTo>
                    <a:lnTo>
                      <a:pt x="511" y="756"/>
                    </a:lnTo>
                    <a:cubicBezTo>
                      <a:pt x="509" y="755"/>
                      <a:pt x="508" y="752"/>
                      <a:pt x="507" y="750"/>
                    </a:cubicBezTo>
                    <a:cubicBezTo>
                      <a:pt x="507" y="748"/>
                      <a:pt x="508" y="745"/>
                      <a:pt x="510" y="744"/>
                    </a:cubicBezTo>
                    <a:lnTo>
                      <a:pt x="511" y="743"/>
                    </a:lnTo>
                    <a:lnTo>
                      <a:pt x="509" y="745"/>
                    </a:lnTo>
                    <a:lnTo>
                      <a:pt x="513" y="736"/>
                    </a:lnTo>
                    <a:lnTo>
                      <a:pt x="524" y="713"/>
                    </a:lnTo>
                    <a:lnTo>
                      <a:pt x="534" y="693"/>
                    </a:lnTo>
                    <a:lnTo>
                      <a:pt x="547" y="667"/>
                    </a:lnTo>
                    <a:cubicBezTo>
                      <a:pt x="549" y="663"/>
                      <a:pt x="554" y="661"/>
                      <a:pt x="558" y="663"/>
                    </a:cubicBezTo>
                    <a:lnTo>
                      <a:pt x="560" y="664"/>
                    </a:lnTo>
                    <a:lnTo>
                      <a:pt x="559" y="664"/>
                    </a:lnTo>
                    <a:lnTo>
                      <a:pt x="565" y="666"/>
                    </a:lnTo>
                    <a:lnTo>
                      <a:pt x="575" y="669"/>
                    </a:lnTo>
                    <a:lnTo>
                      <a:pt x="593" y="675"/>
                    </a:lnTo>
                    <a:lnTo>
                      <a:pt x="619" y="684"/>
                    </a:lnTo>
                    <a:lnTo>
                      <a:pt x="655" y="696"/>
                    </a:lnTo>
                    <a:lnTo>
                      <a:pt x="704" y="713"/>
                    </a:lnTo>
                    <a:lnTo>
                      <a:pt x="693" y="720"/>
                    </a:lnTo>
                    <a:lnTo>
                      <a:pt x="693" y="719"/>
                    </a:lnTo>
                    <a:cubicBezTo>
                      <a:pt x="693" y="718"/>
                      <a:pt x="694" y="716"/>
                      <a:pt x="695" y="714"/>
                    </a:cubicBezTo>
                    <a:lnTo>
                      <a:pt x="699" y="709"/>
                    </a:lnTo>
                    <a:lnTo>
                      <a:pt x="698" y="711"/>
                    </a:lnTo>
                    <a:lnTo>
                      <a:pt x="707" y="695"/>
                    </a:lnTo>
                    <a:lnTo>
                      <a:pt x="724" y="666"/>
                    </a:lnTo>
                    <a:lnTo>
                      <a:pt x="723" y="674"/>
                    </a:lnTo>
                    <a:lnTo>
                      <a:pt x="723" y="673"/>
                    </a:lnTo>
                    <a:lnTo>
                      <a:pt x="714" y="659"/>
                    </a:lnTo>
                    <a:lnTo>
                      <a:pt x="705" y="644"/>
                    </a:lnTo>
                    <a:lnTo>
                      <a:pt x="691" y="621"/>
                    </a:lnTo>
                    <a:lnTo>
                      <a:pt x="672" y="589"/>
                    </a:lnTo>
                    <a:lnTo>
                      <a:pt x="646" y="547"/>
                    </a:lnTo>
                    <a:cubicBezTo>
                      <a:pt x="645" y="545"/>
                      <a:pt x="644" y="543"/>
                      <a:pt x="645" y="541"/>
                    </a:cubicBezTo>
                    <a:lnTo>
                      <a:pt x="650" y="520"/>
                    </a:lnTo>
                    <a:lnTo>
                      <a:pt x="655" y="492"/>
                    </a:lnTo>
                    <a:cubicBezTo>
                      <a:pt x="655" y="488"/>
                      <a:pt x="659" y="485"/>
                      <a:pt x="662" y="485"/>
                    </a:cubicBezTo>
                    <a:lnTo>
                      <a:pt x="664" y="485"/>
                    </a:lnTo>
                    <a:lnTo>
                      <a:pt x="663" y="486"/>
                    </a:lnTo>
                    <a:lnTo>
                      <a:pt x="670" y="484"/>
                    </a:lnTo>
                    <a:lnTo>
                      <a:pt x="681" y="484"/>
                    </a:lnTo>
                    <a:lnTo>
                      <a:pt x="700" y="481"/>
                    </a:lnTo>
                    <a:lnTo>
                      <a:pt x="727" y="478"/>
                    </a:lnTo>
                    <a:lnTo>
                      <a:pt x="766" y="473"/>
                    </a:lnTo>
                    <a:lnTo>
                      <a:pt x="817" y="466"/>
                    </a:lnTo>
                    <a:lnTo>
                      <a:pt x="810" y="473"/>
                    </a:lnTo>
                    <a:lnTo>
                      <a:pt x="810" y="472"/>
                    </a:lnTo>
                    <a:lnTo>
                      <a:pt x="810" y="463"/>
                    </a:lnTo>
                    <a:lnTo>
                      <a:pt x="810" y="440"/>
                    </a:lnTo>
                    <a:lnTo>
                      <a:pt x="810" y="420"/>
                    </a:lnTo>
                    <a:lnTo>
                      <a:pt x="810" y="394"/>
                    </a:lnTo>
                    <a:lnTo>
                      <a:pt x="818" y="402"/>
                    </a:lnTo>
                    <a:lnTo>
                      <a:pt x="816" y="402"/>
                    </a:lnTo>
                    <a:cubicBezTo>
                      <a:pt x="816" y="402"/>
                      <a:pt x="815" y="402"/>
                      <a:pt x="814" y="402"/>
                    </a:cubicBezTo>
                    <a:lnTo>
                      <a:pt x="809" y="400"/>
                    </a:lnTo>
                    <a:lnTo>
                      <a:pt x="799" y="398"/>
                    </a:lnTo>
                    <a:lnTo>
                      <a:pt x="781" y="395"/>
                    </a:lnTo>
                    <a:lnTo>
                      <a:pt x="755" y="389"/>
                    </a:lnTo>
                    <a:lnTo>
                      <a:pt x="719" y="382"/>
                    </a:lnTo>
                    <a:lnTo>
                      <a:pt x="670" y="372"/>
                    </a:lnTo>
                    <a:cubicBezTo>
                      <a:pt x="667" y="372"/>
                      <a:pt x="664" y="369"/>
                      <a:pt x="664" y="366"/>
                    </a:cubicBezTo>
                    <a:lnTo>
                      <a:pt x="658" y="338"/>
                    </a:lnTo>
                    <a:lnTo>
                      <a:pt x="659" y="341"/>
                    </a:lnTo>
                    <a:lnTo>
                      <a:pt x="646" y="320"/>
                    </a:lnTo>
                    <a:cubicBezTo>
                      <a:pt x="644" y="317"/>
                      <a:pt x="644" y="312"/>
                      <a:pt x="647" y="310"/>
                    </a:cubicBezTo>
                    <a:lnTo>
                      <a:pt x="648" y="308"/>
                    </a:lnTo>
                    <a:lnTo>
                      <a:pt x="660" y="295"/>
                    </a:lnTo>
                    <a:lnTo>
                      <a:pt x="673" y="281"/>
                    </a:lnTo>
                    <a:lnTo>
                      <a:pt x="692" y="260"/>
                    </a:lnTo>
                    <a:lnTo>
                      <a:pt x="719" y="230"/>
                    </a:lnTo>
                    <a:lnTo>
                      <a:pt x="754" y="191"/>
                    </a:lnTo>
                    <a:lnTo>
                      <a:pt x="754" y="202"/>
                    </a:lnTo>
                    <a:lnTo>
                      <a:pt x="752" y="201"/>
                    </a:lnTo>
                    <a:lnTo>
                      <a:pt x="747" y="195"/>
                    </a:lnTo>
                    <a:lnTo>
                      <a:pt x="732" y="177"/>
                    </a:lnTo>
                    <a:lnTo>
                      <a:pt x="704" y="143"/>
                    </a:lnTo>
                    <a:lnTo>
                      <a:pt x="714" y="145"/>
                    </a:lnTo>
                    <a:lnTo>
                      <a:pt x="713" y="145"/>
                    </a:lnTo>
                    <a:lnTo>
                      <a:pt x="707" y="149"/>
                    </a:lnTo>
                    <a:lnTo>
                      <a:pt x="697" y="154"/>
                    </a:lnTo>
                    <a:lnTo>
                      <a:pt x="681" y="162"/>
                    </a:lnTo>
                    <a:lnTo>
                      <a:pt x="657" y="174"/>
                    </a:lnTo>
                    <a:lnTo>
                      <a:pt x="623" y="191"/>
                    </a:lnTo>
                    <a:lnTo>
                      <a:pt x="578" y="214"/>
                    </a:lnTo>
                    <a:cubicBezTo>
                      <a:pt x="575" y="215"/>
                      <a:pt x="572" y="215"/>
                      <a:pt x="570" y="213"/>
                    </a:cubicBezTo>
                    <a:lnTo>
                      <a:pt x="551" y="198"/>
                    </a:lnTo>
                    <a:lnTo>
                      <a:pt x="531" y="183"/>
                    </a:lnTo>
                    <a:cubicBezTo>
                      <a:pt x="529" y="181"/>
                      <a:pt x="527" y="179"/>
                      <a:pt x="527" y="176"/>
                    </a:cubicBezTo>
                    <a:lnTo>
                      <a:pt x="527" y="174"/>
                    </a:lnTo>
                    <a:lnTo>
                      <a:pt x="527" y="168"/>
                    </a:lnTo>
                    <a:lnTo>
                      <a:pt x="527" y="156"/>
                    </a:lnTo>
                    <a:lnTo>
                      <a:pt x="527" y="137"/>
                    </a:lnTo>
                    <a:lnTo>
                      <a:pt x="527" y="109"/>
                    </a:lnTo>
                    <a:lnTo>
                      <a:pt x="527" y="70"/>
                    </a:lnTo>
                    <a:lnTo>
                      <a:pt x="527" y="18"/>
                    </a:lnTo>
                    <a:lnTo>
                      <a:pt x="535" y="26"/>
                    </a:lnTo>
                    <a:lnTo>
                      <a:pt x="534" y="26"/>
                    </a:lnTo>
                    <a:lnTo>
                      <a:pt x="524" y="25"/>
                    </a:lnTo>
                    <a:lnTo>
                      <a:pt x="501" y="22"/>
                    </a:lnTo>
                    <a:lnTo>
                      <a:pt x="483" y="19"/>
                    </a:lnTo>
                    <a:lnTo>
                      <a:pt x="457" y="16"/>
                    </a:lnTo>
                    <a:lnTo>
                      <a:pt x="465" y="12"/>
                    </a:lnTo>
                    <a:lnTo>
                      <a:pt x="464" y="13"/>
                    </a:lnTo>
                    <a:lnTo>
                      <a:pt x="462" y="18"/>
                    </a:lnTo>
                    <a:lnTo>
                      <a:pt x="458" y="29"/>
                    </a:lnTo>
                    <a:lnTo>
                      <a:pt x="451" y="46"/>
                    </a:lnTo>
                    <a:lnTo>
                      <a:pt x="440" y="71"/>
                    </a:lnTo>
                    <a:lnTo>
                      <a:pt x="425" y="105"/>
                    </a:lnTo>
                    <a:lnTo>
                      <a:pt x="406" y="151"/>
                    </a:lnTo>
                    <a:cubicBezTo>
                      <a:pt x="405" y="153"/>
                      <a:pt x="402" y="155"/>
                      <a:pt x="399" y="155"/>
                    </a:cubicBezTo>
                    <a:lnTo>
                      <a:pt x="375" y="156"/>
                    </a:lnTo>
                    <a:lnTo>
                      <a:pt x="377" y="156"/>
                    </a:lnTo>
                    <a:lnTo>
                      <a:pt x="353" y="165"/>
                    </a:lnTo>
                    <a:cubicBezTo>
                      <a:pt x="350" y="166"/>
                      <a:pt x="347" y="165"/>
                      <a:pt x="345" y="163"/>
                    </a:cubicBezTo>
                    <a:lnTo>
                      <a:pt x="342" y="160"/>
                    </a:lnTo>
                    <a:lnTo>
                      <a:pt x="332" y="148"/>
                    </a:lnTo>
                    <a:lnTo>
                      <a:pt x="320" y="134"/>
                    </a:lnTo>
                    <a:lnTo>
                      <a:pt x="303" y="113"/>
                    </a:lnTo>
                    <a:lnTo>
                      <a:pt x="278" y="83"/>
                    </a:lnTo>
                    <a:lnTo>
                      <a:pt x="246" y="44"/>
                    </a:lnTo>
                    <a:lnTo>
                      <a:pt x="252" y="46"/>
                    </a:lnTo>
                    <a:lnTo>
                      <a:pt x="251" y="46"/>
                    </a:lnTo>
                    <a:lnTo>
                      <a:pt x="255" y="45"/>
                    </a:lnTo>
                    <a:lnTo>
                      <a:pt x="248" y="50"/>
                    </a:lnTo>
                    <a:lnTo>
                      <a:pt x="227" y="59"/>
                    </a:lnTo>
                    <a:lnTo>
                      <a:pt x="210" y="66"/>
                    </a:lnTo>
                    <a:lnTo>
                      <a:pt x="188" y="76"/>
                    </a:lnTo>
                    <a:lnTo>
                      <a:pt x="192" y="65"/>
                    </a:lnTo>
                    <a:lnTo>
                      <a:pt x="193" y="67"/>
                    </a:lnTo>
                    <a:cubicBezTo>
                      <a:pt x="193" y="67"/>
                      <a:pt x="193" y="68"/>
                      <a:pt x="193" y="68"/>
                    </a:cubicBezTo>
                    <a:lnTo>
                      <a:pt x="195" y="74"/>
                    </a:lnTo>
                    <a:lnTo>
                      <a:pt x="198" y="85"/>
                    </a:lnTo>
                    <a:lnTo>
                      <a:pt x="204" y="102"/>
                    </a:lnTo>
                    <a:lnTo>
                      <a:pt x="213" y="128"/>
                    </a:lnTo>
                    <a:lnTo>
                      <a:pt x="225" y="165"/>
                    </a:lnTo>
                    <a:lnTo>
                      <a:pt x="241" y="214"/>
                    </a:lnTo>
                    <a:cubicBezTo>
                      <a:pt x="242" y="217"/>
                      <a:pt x="241" y="220"/>
                      <a:pt x="239" y="222"/>
                    </a:cubicBezTo>
                    <a:lnTo>
                      <a:pt x="215" y="246"/>
                    </a:lnTo>
                    <a:lnTo>
                      <a:pt x="200" y="261"/>
                    </a:lnTo>
                    <a:cubicBezTo>
                      <a:pt x="199" y="263"/>
                      <a:pt x="197" y="263"/>
                      <a:pt x="194" y="263"/>
                    </a:cubicBezTo>
                    <a:lnTo>
                      <a:pt x="192" y="263"/>
                    </a:lnTo>
                    <a:cubicBezTo>
                      <a:pt x="192" y="263"/>
                      <a:pt x="191" y="263"/>
                      <a:pt x="190" y="263"/>
                    </a:cubicBezTo>
                    <a:lnTo>
                      <a:pt x="185" y="261"/>
                    </a:lnTo>
                    <a:lnTo>
                      <a:pt x="175" y="259"/>
                    </a:lnTo>
                    <a:lnTo>
                      <a:pt x="157" y="256"/>
                    </a:lnTo>
                    <a:lnTo>
                      <a:pt x="131" y="251"/>
                    </a:lnTo>
                    <a:lnTo>
                      <a:pt x="95" y="244"/>
                    </a:lnTo>
                    <a:lnTo>
                      <a:pt x="46" y="234"/>
                    </a:lnTo>
                    <a:lnTo>
                      <a:pt x="55" y="226"/>
                    </a:lnTo>
                    <a:lnTo>
                      <a:pt x="55" y="227"/>
                    </a:lnTo>
                    <a:cubicBezTo>
                      <a:pt x="55" y="229"/>
                      <a:pt x="55" y="230"/>
                      <a:pt x="55" y="231"/>
                    </a:cubicBezTo>
                    <a:lnTo>
                      <a:pt x="51" y="239"/>
                    </a:lnTo>
                    <a:lnTo>
                      <a:pt x="43" y="262"/>
                    </a:lnTo>
                    <a:lnTo>
                      <a:pt x="36" y="282"/>
                    </a:lnTo>
                    <a:lnTo>
                      <a:pt x="26" y="308"/>
                    </a:lnTo>
                    <a:lnTo>
                      <a:pt x="22" y="298"/>
                    </a:lnTo>
                    <a:lnTo>
                      <a:pt x="25" y="300"/>
                    </a:lnTo>
                    <a:lnTo>
                      <a:pt x="39" y="309"/>
                    </a:lnTo>
                    <a:lnTo>
                      <a:pt x="54" y="318"/>
                    </a:lnTo>
                    <a:lnTo>
                      <a:pt x="77" y="332"/>
                    </a:lnTo>
                    <a:lnTo>
                      <a:pt x="108" y="352"/>
                    </a:lnTo>
                    <a:lnTo>
                      <a:pt x="150" y="378"/>
                    </a:lnTo>
                    <a:cubicBezTo>
                      <a:pt x="152" y="379"/>
                      <a:pt x="153" y="382"/>
                      <a:pt x="153" y="384"/>
                    </a:cubicBezTo>
                    <a:lnTo>
                      <a:pt x="153" y="409"/>
                    </a:lnTo>
                    <a:lnTo>
                      <a:pt x="153" y="433"/>
                    </a:lnTo>
                    <a:cubicBezTo>
                      <a:pt x="153" y="437"/>
                      <a:pt x="152" y="439"/>
                      <a:pt x="149" y="441"/>
                    </a:cubicBezTo>
                    <a:lnTo>
                      <a:pt x="148" y="441"/>
                    </a:lnTo>
                    <a:lnTo>
                      <a:pt x="142" y="445"/>
                    </a:lnTo>
                    <a:lnTo>
                      <a:pt x="132" y="450"/>
                    </a:lnTo>
                    <a:lnTo>
                      <a:pt x="116" y="458"/>
                    </a:lnTo>
                    <a:lnTo>
                      <a:pt x="91" y="470"/>
                    </a:lnTo>
                    <a:lnTo>
                      <a:pt x="57" y="487"/>
                    </a:lnTo>
                    <a:lnTo>
                      <a:pt x="12" y="510"/>
                    </a:lnTo>
                    <a:lnTo>
                      <a:pt x="16" y="502"/>
                    </a:lnTo>
                    <a:lnTo>
                      <a:pt x="16" y="503"/>
                    </a:lnTo>
                    <a:lnTo>
                      <a:pt x="16" y="500"/>
                    </a:lnTo>
                    <a:lnTo>
                      <a:pt x="20" y="510"/>
                    </a:lnTo>
                    <a:lnTo>
                      <a:pt x="29" y="533"/>
                    </a:lnTo>
                    <a:lnTo>
                      <a:pt x="36" y="553"/>
                    </a:lnTo>
                    <a:lnTo>
                      <a:pt x="46" y="579"/>
                    </a:lnTo>
                    <a:lnTo>
                      <a:pt x="38" y="573"/>
                    </a:lnTo>
                    <a:lnTo>
                      <a:pt x="40" y="573"/>
                    </a:lnTo>
                    <a:lnTo>
                      <a:pt x="39" y="574"/>
                    </a:lnTo>
                    <a:lnTo>
                      <a:pt x="46" y="572"/>
                    </a:lnTo>
                    <a:lnTo>
                      <a:pt x="55" y="572"/>
                    </a:lnTo>
                    <a:lnTo>
                      <a:pt x="74" y="569"/>
                    </a:lnTo>
                    <a:lnTo>
                      <a:pt x="99" y="566"/>
                    </a:lnTo>
                    <a:lnTo>
                      <a:pt x="135" y="561"/>
                    </a:lnTo>
                    <a:lnTo>
                      <a:pt x="183" y="555"/>
                    </a:lnTo>
                    <a:cubicBezTo>
                      <a:pt x="187" y="554"/>
                      <a:pt x="189" y="556"/>
                      <a:pt x="191" y="558"/>
                    </a:cubicBezTo>
                    <a:lnTo>
                      <a:pt x="205" y="580"/>
                    </a:lnTo>
                    <a:lnTo>
                      <a:pt x="219" y="596"/>
                    </a:lnTo>
                    <a:cubicBezTo>
                      <a:pt x="222" y="599"/>
                      <a:pt x="222" y="602"/>
                      <a:pt x="221" y="605"/>
                    </a:cubicBezTo>
                    <a:lnTo>
                      <a:pt x="220" y="607"/>
                    </a:lnTo>
                    <a:lnTo>
                      <a:pt x="220" y="606"/>
                    </a:lnTo>
                    <a:lnTo>
                      <a:pt x="218" y="612"/>
                    </a:lnTo>
                    <a:lnTo>
                      <a:pt x="214" y="624"/>
                    </a:lnTo>
                    <a:lnTo>
                      <a:pt x="207" y="640"/>
                    </a:lnTo>
                    <a:lnTo>
                      <a:pt x="197" y="666"/>
                    </a:lnTo>
                    <a:lnTo>
                      <a:pt x="182" y="703"/>
                    </a:lnTo>
                    <a:lnTo>
                      <a:pt x="163" y="752"/>
                    </a:lnTo>
                    <a:lnTo>
                      <a:pt x="161" y="744"/>
                    </a:lnTo>
                    <a:lnTo>
                      <a:pt x="162" y="745"/>
                    </a:lnTo>
                    <a:lnTo>
                      <a:pt x="160" y="743"/>
                    </a:lnTo>
                    <a:lnTo>
                      <a:pt x="169" y="748"/>
                    </a:lnTo>
                    <a:lnTo>
                      <a:pt x="189" y="760"/>
                    </a:lnTo>
                    <a:lnTo>
                      <a:pt x="206" y="770"/>
                    </a:lnTo>
                    <a:lnTo>
                      <a:pt x="228" y="783"/>
                    </a:lnTo>
                    <a:lnTo>
                      <a:pt x="218" y="784"/>
                    </a:lnTo>
                    <a:lnTo>
                      <a:pt x="220" y="782"/>
                    </a:lnTo>
                    <a:lnTo>
                      <a:pt x="231" y="770"/>
                    </a:lnTo>
                    <a:lnTo>
                      <a:pt x="244" y="757"/>
                    </a:lnTo>
                    <a:lnTo>
                      <a:pt x="263" y="738"/>
                    </a:lnTo>
                    <a:lnTo>
                      <a:pt x="290" y="711"/>
                    </a:lnTo>
                    <a:lnTo>
                      <a:pt x="325" y="675"/>
                    </a:lnTo>
                    <a:cubicBezTo>
                      <a:pt x="326" y="673"/>
                      <a:pt x="328" y="672"/>
                      <a:pt x="330" y="672"/>
                    </a:cubicBezTo>
                    <a:lnTo>
                      <a:pt x="344" y="672"/>
                    </a:lnTo>
                    <a:lnTo>
                      <a:pt x="350" y="672"/>
                    </a:lnTo>
                    <a:cubicBezTo>
                      <a:pt x="352" y="672"/>
                      <a:pt x="354" y="673"/>
                      <a:pt x="355" y="674"/>
                    </a:cubicBezTo>
                    <a:lnTo>
                      <a:pt x="369" y="683"/>
                    </a:lnTo>
                    <a:lnTo>
                      <a:pt x="365" y="681"/>
                    </a:lnTo>
                    <a:lnTo>
                      <a:pt x="380" y="682"/>
                    </a:lnTo>
                    <a:cubicBezTo>
                      <a:pt x="383" y="683"/>
                      <a:pt x="385" y="684"/>
                      <a:pt x="387" y="687"/>
                    </a:cubicBezTo>
                    <a:lnTo>
                      <a:pt x="388" y="689"/>
                    </a:lnTo>
                    <a:cubicBezTo>
                      <a:pt x="388" y="689"/>
                      <a:pt x="388" y="690"/>
                      <a:pt x="388" y="690"/>
                    </a:cubicBezTo>
                    <a:lnTo>
                      <a:pt x="390" y="696"/>
                    </a:lnTo>
                    <a:lnTo>
                      <a:pt x="393" y="707"/>
                    </a:lnTo>
                    <a:lnTo>
                      <a:pt x="399" y="724"/>
                    </a:lnTo>
                    <a:lnTo>
                      <a:pt x="408" y="750"/>
                    </a:lnTo>
                    <a:lnTo>
                      <a:pt x="420" y="787"/>
                    </a:lnTo>
                    <a:lnTo>
                      <a:pt x="436" y="836"/>
                    </a:lnTo>
                    <a:cubicBezTo>
                      <a:pt x="437" y="840"/>
                      <a:pt x="435" y="845"/>
                      <a:pt x="431" y="846"/>
                    </a:cubicBezTo>
                    <a:cubicBezTo>
                      <a:pt x="427" y="847"/>
                      <a:pt x="422" y="845"/>
                      <a:pt x="421" y="841"/>
                    </a:cubicBezTo>
                    <a:close/>
                  </a:path>
                </a:pathLst>
              </a:custGeom>
              <a:solidFill>
                <a:srgbClr val="1A171B"/>
              </a:solidFill>
              <a:ln w="0" cap="flat">
                <a:solidFill>
                  <a:srgbClr val="1A171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1" name="Freeform 14"/>
              <p:cNvSpPr>
                <a:spLocks noEditPoints="1"/>
              </p:cNvSpPr>
              <p:nvPr/>
            </p:nvSpPr>
            <p:spPr bwMode="auto">
              <a:xfrm>
                <a:off x="3144" y="1932"/>
                <a:ext cx="120" cy="114"/>
              </a:xfrm>
              <a:custGeom>
                <a:avLst/>
                <a:gdLst/>
                <a:ahLst/>
                <a:cxnLst>
                  <a:cxn ang="0">
                    <a:pos x="304" y="153"/>
                  </a:cxn>
                  <a:cxn ang="0">
                    <a:pos x="302" y="126"/>
                  </a:cxn>
                  <a:cxn ang="0">
                    <a:pos x="294" y="101"/>
                  </a:cxn>
                  <a:cxn ang="0">
                    <a:pos x="264" y="57"/>
                  </a:cxn>
                  <a:cxn ang="0">
                    <a:pos x="217" y="27"/>
                  </a:cxn>
                  <a:cxn ang="0">
                    <a:pos x="191" y="19"/>
                  </a:cxn>
                  <a:cxn ang="0">
                    <a:pos x="161" y="16"/>
                  </a:cxn>
                  <a:cxn ang="0">
                    <a:pos x="133" y="19"/>
                  </a:cxn>
                  <a:cxn ang="0">
                    <a:pos x="106" y="26"/>
                  </a:cxn>
                  <a:cxn ang="0">
                    <a:pos x="60" y="55"/>
                  </a:cxn>
                  <a:cxn ang="0">
                    <a:pos x="28" y="99"/>
                  </a:cxn>
                  <a:cxn ang="0">
                    <a:pos x="19" y="124"/>
                  </a:cxn>
                  <a:cxn ang="0">
                    <a:pos x="16" y="152"/>
                  </a:cxn>
                  <a:cxn ang="0">
                    <a:pos x="19" y="179"/>
                  </a:cxn>
                  <a:cxn ang="0">
                    <a:pos x="27" y="204"/>
                  </a:cxn>
                  <a:cxn ang="0">
                    <a:pos x="58" y="248"/>
                  </a:cxn>
                  <a:cxn ang="0">
                    <a:pos x="103" y="278"/>
                  </a:cxn>
                  <a:cxn ang="0">
                    <a:pos x="159" y="289"/>
                  </a:cxn>
                  <a:cxn ang="0">
                    <a:pos x="215" y="279"/>
                  </a:cxn>
                  <a:cxn ang="0">
                    <a:pos x="262" y="250"/>
                  </a:cxn>
                  <a:cxn ang="0">
                    <a:pos x="293" y="206"/>
                  </a:cxn>
                  <a:cxn ang="0">
                    <a:pos x="301" y="181"/>
                  </a:cxn>
                  <a:cxn ang="0">
                    <a:pos x="317" y="182"/>
                  </a:cxn>
                  <a:cxn ang="0">
                    <a:pos x="308" y="211"/>
                  </a:cxn>
                  <a:cxn ang="0">
                    <a:pos x="275" y="259"/>
                  </a:cxn>
                  <a:cxn ang="0">
                    <a:pos x="224" y="292"/>
                  </a:cxn>
                  <a:cxn ang="0">
                    <a:pos x="162" y="304"/>
                  </a:cxn>
                  <a:cxn ang="0">
                    <a:pos x="100" y="293"/>
                  </a:cxn>
                  <a:cxn ang="0">
                    <a:pos x="49" y="261"/>
                  </a:cxn>
                  <a:cxn ang="0">
                    <a:pos x="14" y="213"/>
                  </a:cxn>
                  <a:cxn ang="0">
                    <a:pos x="4" y="184"/>
                  </a:cxn>
                  <a:cxn ang="0">
                    <a:pos x="0" y="153"/>
                  </a:cxn>
                  <a:cxn ang="0">
                    <a:pos x="3" y="123"/>
                  </a:cxn>
                  <a:cxn ang="0">
                    <a:pos x="13" y="94"/>
                  </a:cxn>
                  <a:cxn ang="0">
                    <a:pos x="47" y="46"/>
                  </a:cxn>
                  <a:cxn ang="0">
                    <a:pos x="97" y="13"/>
                  </a:cxn>
                  <a:cxn ang="0">
                    <a:pos x="128" y="4"/>
                  </a:cxn>
                  <a:cxn ang="0">
                    <a:pos x="160" y="0"/>
                  </a:cxn>
                  <a:cxn ang="0">
                    <a:pos x="192" y="3"/>
                  </a:cxn>
                  <a:cxn ang="0">
                    <a:pos x="222" y="12"/>
                  </a:cxn>
                  <a:cxn ang="0">
                    <a:pos x="273" y="44"/>
                  </a:cxn>
                  <a:cxn ang="0">
                    <a:pos x="307" y="92"/>
                  </a:cxn>
                  <a:cxn ang="0">
                    <a:pos x="317" y="121"/>
                  </a:cxn>
                  <a:cxn ang="0">
                    <a:pos x="320" y="152"/>
                  </a:cxn>
                  <a:cxn ang="0">
                    <a:pos x="317" y="182"/>
                  </a:cxn>
                </a:cxnLst>
                <a:rect l="0" t="0" r="r" b="b"/>
                <a:pathLst>
                  <a:path w="320" h="305">
                    <a:moveTo>
                      <a:pt x="304" y="152"/>
                    </a:moveTo>
                    <a:lnTo>
                      <a:pt x="304" y="153"/>
                    </a:lnTo>
                    <a:lnTo>
                      <a:pt x="301" y="124"/>
                    </a:lnTo>
                    <a:lnTo>
                      <a:pt x="302" y="126"/>
                    </a:lnTo>
                    <a:lnTo>
                      <a:pt x="293" y="99"/>
                    </a:lnTo>
                    <a:lnTo>
                      <a:pt x="294" y="101"/>
                    </a:lnTo>
                    <a:lnTo>
                      <a:pt x="262" y="55"/>
                    </a:lnTo>
                    <a:lnTo>
                      <a:pt x="264" y="57"/>
                    </a:lnTo>
                    <a:lnTo>
                      <a:pt x="215" y="26"/>
                    </a:lnTo>
                    <a:lnTo>
                      <a:pt x="217" y="27"/>
                    </a:lnTo>
                    <a:lnTo>
                      <a:pt x="189" y="19"/>
                    </a:lnTo>
                    <a:lnTo>
                      <a:pt x="191" y="19"/>
                    </a:lnTo>
                    <a:lnTo>
                      <a:pt x="160" y="16"/>
                    </a:lnTo>
                    <a:lnTo>
                      <a:pt x="161" y="16"/>
                    </a:lnTo>
                    <a:lnTo>
                      <a:pt x="131" y="19"/>
                    </a:lnTo>
                    <a:lnTo>
                      <a:pt x="133" y="19"/>
                    </a:lnTo>
                    <a:lnTo>
                      <a:pt x="104" y="27"/>
                    </a:lnTo>
                    <a:lnTo>
                      <a:pt x="106" y="26"/>
                    </a:lnTo>
                    <a:lnTo>
                      <a:pt x="58" y="57"/>
                    </a:lnTo>
                    <a:lnTo>
                      <a:pt x="60" y="55"/>
                    </a:lnTo>
                    <a:lnTo>
                      <a:pt x="27" y="101"/>
                    </a:lnTo>
                    <a:lnTo>
                      <a:pt x="28" y="99"/>
                    </a:lnTo>
                    <a:lnTo>
                      <a:pt x="19" y="126"/>
                    </a:lnTo>
                    <a:lnTo>
                      <a:pt x="19" y="124"/>
                    </a:lnTo>
                    <a:lnTo>
                      <a:pt x="16" y="153"/>
                    </a:lnTo>
                    <a:lnTo>
                      <a:pt x="16" y="152"/>
                    </a:lnTo>
                    <a:lnTo>
                      <a:pt x="19" y="181"/>
                    </a:lnTo>
                    <a:lnTo>
                      <a:pt x="19" y="179"/>
                    </a:lnTo>
                    <a:lnTo>
                      <a:pt x="28" y="206"/>
                    </a:lnTo>
                    <a:lnTo>
                      <a:pt x="27" y="204"/>
                    </a:lnTo>
                    <a:lnTo>
                      <a:pt x="60" y="250"/>
                    </a:lnTo>
                    <a:lnTo>
                      <a:pt x="58" y="248"/>
                    </a:lnTo>
                    <a:lnTo>
                      <a:pt x="106" y="279"/>
                    </a:lnTo>
                    <a:lnTo>
                      <a:pt x="103" y="278"/>
                    </a:lnTo>
                    <a:lnTo>
                      <a:pt x="162" y="289"/>
                    </a:lnTo>
                    <a:lnTo>
                      <a:pt x="159" y="289"/>
                    </a:lnTo>
                    <a:lnTo>
                      <a:pt x="218" y="278"/>
                    </a:lnTo>
                    <a:lnTo>
                      <a:pt x="215" y="279"/>
                    </a:lnTo>
                    <a:lnTo>
                      <a:pt x="264" y="248"/>
                    </a:lnTo>
                    <a:lnTo>
                      <a:pt x="262" y="250"/>
                    </a:lnTo>
                    <a:lnTo>
                      <a:pt x="294" y="204"/>
                    </a:lnTo>
                    <a:lnTo>
                      <a:pt x="293" y="206"/>
                    </a:lnTo>
                    <a:lnTo>
                      <a:pt x="302" y="179"/>
                    </a:lnTo>
                    <a:lnTo>
                      <a:pt x="301" y="181"/>
                    </a:lnTo>
                    <a:lnTo>
                      <a:pt x="304" y="152"/>
                    </a:lnTo>
                    <a:close/>
                    <a:moveTo>
                      <a:pt x="317" y="182"/>
                    </a:moveTo>
                    <a:cubicBezTo>
                      <a:pt x="317" y="183"/>
                      <a:pt x="317" y="183"/>
                      <a:pt x="317" y="184"/>
                    </a:cubicBezTo>
                    <a:lnTo>
                      <a:pt x="308" y="211"/>
                    </a:lnTo>
                    <a:cubicBezTo>
                      <a:pt x="308" y="212"/>
                      <a:pt x="307" y="212"/>
                      <a:pt x="307" y="213"/>
                    </a:cubicBezTo>
                    <a:lnTo>
                      <a:pt x="275" y="259"/>
                    </a:lnTo>
                    <a:cubicBezTo>
                      <a:pt x="274" y="260"/>
                      <a:pt x="274" y="261"/>
                      <a:pt x="273" y="261"/>
                    </a:cubicBezTo>
                    <a:lnTo>
                      <a:pt x="224" y="292"/>
                    </a:lnTo>
                    <a:cubicBezTo>
                      <a:pt x="223" y="293"/>
                      <a:pt x="222" y="293"/>
                      <a:pt x="221" y="293"/>
                    </a:cubicBezTo>
                    <a:lnTo>
                      <a:pt x="162" y="304"/>
                    </a:lnTo>
                    <a:cubicBezTo>
                      <a:pt x="161" y="305"/>
                      <a:pt x="160" y="305"/>
                      <a:pt x="159" y="304"/>
                    </a:cubicBezTo>
                    <a:lnTo>
                      <a:pt x="100" y="293"/>
                    </a:lnTo>
                    <a:cubicBezTo>
                      <a:pt x="99" y="293"/>
                      <a:pt x="98" y="293"/>
                      <a:pt x="97" y="292"/>
                    </a:cubicBezTo>
                    <a:lnTo>
                      <a:pt x="49" y="261"/>
                    </a:lnTo>
                    <a:cubicBezTo>
                      <a:pt x="48" y="261"/>
                      <a:pt x="48" y="260"/>
                      <a:pt x="47" y="259"/>
                    </a:cubicBezTo>
                    <a:lnTo>
                      <a:pt x="14" y="213"/>
                    </a:lnTo>
                    <a:cubicBezTo>
                      <a:pt x="13" y="212"/>
                      <a:pt x="13" y="212"/>
                      <a:pt x="13" y="211"/>
                    </a:cubicBezTo>
                    <a:lnTo>
                      <a:pt x="4" y="184"/>
                    </a:lnTo>
                    <a:cubicBezTo>
                      <a:pt x="4" y="183"/>
                      <a:pt x="4" y="183"/>
                      <a:pt x="3" y="182"/>
                    </a:cubicBezTo>
                    <a:lnTo>
                      <a:pt x="0" y="153"/>
                    </a:lnTo>
                    <a:cubicBezTo>
                      <a:pt x="0" y="153"/>
                      <a:pt x="0" y="152"/>
                      <a:pt x="0" y="152"/>
                    </a:cubicBezTo>
                    <a:lnTo>
                      <a:pt x="3" y="123"/>
                    </a:lnTo>
                    <a:cubicBezTo>
                      <a:pt x="4" y="122"/>
                      <a:pt x="4" y="121"/>
                      <a:pt x="4" y="121"/>
                    </a:cubicBezTo>
                    <a:lnTo>
                      <a:pt x="13" y="94"/>
                    </a:lnTo>
                    <a:cubicBezTo>
                      <a:pt x="13" y="93"/>
                      <a:pt x="13" y="92"/>
                      <a:pt x="14" y="92"/>
                    </a:cubicBezTo>
                    <a:lnTo>
                      <a:pt x="47" y="46"/>
                    </a:lnTo>
                    <a:cubicBezTo>
                      <a:pt x="48" y="45"/>
                      <a:pt x="48" y="44"/>
                      <a:pt x="49" y="44"/>
                    </a:cubicBezTo>
                    <a:lnTo>
                      <a:pt x="97" y="13"/>
                    </a:lnTo>
                    <a:cubicBezTo>
                      <a:pt x="98" y="12"/>
                      <a:pt x="99" y="12"/>
                      <a:pt x="99" y="12"/>
                    </a:cubicBezTo>
                    <a:lnTo>
                      <a:pt x="128" y="4"/>
                    </a:lnTo>
                    <a:cubicBezTo>
                      <a:pt x="129" y="4"/>
                      <a:pt x="129" y="4"/>
                      <a:pt x="130" y="3"/>
                    </a:cubicBezTo>
                    <a:lnTo>
                      <a:pt x="160" y="0"/>
                    </a:lnTo>
                    <a:cubicBezTo>
                      <a:pt x="160" y="0"/>
                      <a:pt x="161" y="0"/>
                      <a:pt x="161" y="0"/>
                    </a:cubicBezTo>
                    <a:lnTo>
                      <a:pt x="192" y="3"/>
                    </a:lnTo>
                    <a:cubicBezTo>
                      <a:pt x="193" y="4"/>
                      <a:pt x="193" y="4"/>
                      <a:pt x="194" y="4"/>
                    </a:cubicBezTo>
                    <a:lnTo>
                      <a:pt x="222" y="12"/>
                    </a:lnTo>
                    <a:cubicBezTo>
                      <a:pt x="222" y="12"/>
                      <a:pt x="223" y="12"/>
                      <a:pt x="224" y="13"/>
                    </a:cubicBezTo>
                    <a:lnTo>
                      <a:pt x="273" y="44"/>
                    </a:lnTo>
                    <a:cubicBezTo>
                      <a:pt x="274" y="44"/>
                      <a:pt x="274" y="45"/>
                      <a:pt x="275" y="46"/>
                    </a:cubicBezTo>
                    <a:lnTo>
                      <a:pt x="307" y="92"/>
                    </a:lnTo>
                    <a:cubicBezTo>
                      <a:pt x="307" y="93"/>
                      <a:pt x="308" y="93"/>
                      <a:pt x="308" y="94"/>
                    </a:cubicBezTo>
                    <a:lnTo>
                      <a:pt x="317" y="121"/>
                    </a:lnTo>
                    <a:cubicBezTo>
                      <a:pt x="317" y="121"/>
                      <a:pt x="317" y="122"/>
                      <a:pt x="317" y="123"/>
                    </a:cubicBezTo>
                    <a:lnTo>
                      <a:pt x="320" y="152"/>
                    </a:lnTo>
                    <a:cubicBezTo>
                      <a:pt x="320" y="152"/>
                      <a:pt x="320" y="153"/>
                      <a:pt x="320" y="153"/>
                    </a:cubicBezTo>
                    <a:lnTo>
                      <a:pt x="317" y="182"/>
                    </a:lnTo>
                    <a:close/>
                  </a:path>
                </a:pathLst>
              </a:custGeom>
              <a:solidFill>
                <a:srgbClr val="1A171B"/>
              </a:solidFill>
              <a:ln w="0" cap="flat">
                <a:solidFill>
                  <a:srgbClr val="1A171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2" name="Freeform 15"/>
              <p:cNvSpPr>
                <a:spLocks noEditPoints="1"/>
              </p:cNvSpPr>
              <p:nvPr/>
            </p:nvSpPr>
            <p:spPr bwMode="auto">
              <a:xfrm>
                <a:off x="2940" y="1728"/>
                <a:ext cx="102" cy="108"/>
              </a:xfrm>
              <a:custGeom>
                <a:avLst/>
                <a:gdLst/>
                <a:ahLst/>
                <a:cxnLst>
                  <a:cxn ang="0">
                    <a:pos x="257" y="146"/>
                  </a:cxn>
                  <a:cxn ang="0">
                    <a:pos x="248" y="96"/>
                  </a:cxn>
                  <a:cxn ang="0">
                    <a:pos x="223" y="55"/>
                  </a:cxn>
                  <a:cxn ang="0">
                    <a:pos x="185" y="27"/>
                  </a:cxn>
                  <a:cxn ang="0">
                    <a:pos x="138" y="16"/>
                  </a:cxn>
                  <a:cxn ang="0">
                    <a:pos x="91" y="26"/>
                  </a:cxn>
                  <a:cxn ang="0">
                    <a:pos x="53" y="53"/>
                  </a:cxn>
                  <a:cxn ang="0">
                    <a:pos x="26" y="93"/>
                  </a:cxn>
                  <a:cxn ang="0">
                    <a:pos x="16" y="143"/>
                  </a:cxn>
                  <a:cxn ang="0">
                    <a:pos x="25" y="193"/>
                  </a:cxn>
                  <a:cxn ang="0">
                    <a:pos x="51" y="235"/>
                  </a:cxn>
                  <a:cxn ang="0">
                    <a:pos x="88" y="262"/>
                  </a:cxn>
                  <a:cxn ang="0">
                    <a:pos x="135" y="273"/>
                  </a:cxn>
                  <a:cxn ang="0">
                    <a:pos x="182" y="263"/>
                  </a:cxn>
                  <a:cxn ang="0">
                    <a:pos x="221" y="237"/>
                  </a:cxn>
                  <a:cxn ang="0">
                    <a:pos x="247" y="196"/>
                  </a:cxn>
                  <a:cxn ang="0">
                    <a:pos x="262" y="199"/>
                  </a:cxn>
                  <a:cxn ang="0">
                    <a:pos x="234" y="246"/>
                  </a:cxn>
                  <a:cxn ang="0">
                    <a:pos x="191" y="276"/>
                  </a:cxn>
                  <a:cxn ang="0">
                    <a:pos x="138" y="288"/>
                  </a:cxn>
                  <a:cxn ang="0">
                    <a:pos x="85" y="277"/>
                  </a:cxn>
                  <a:cxn ang="0">
                    <a:pos x="42" y="248"/>
                  </a:cxn>
                  <a:cxn ang="0">
                    <a:pos x="12" y="202"/>
                  </a:cxn>
                  <a:cxn ang="0">
                    <a:pos x="1" y="146"/>
                  </a:cxn>
                  <a:cxn ang="0">
                    <a:pos x="11" y="90"/>
                  </a:cxn>
                  <a:cxn ang="0">
                    <a:pos x="40" y="44"/>
                  </a:cxn>
                  <a:cxn ang="0">
                    <a:pos x="82" y="13"/>
                  </a:cxn>
                  <a:cxn ang="0">
                    <a:pos x="135" y="1"/>
                  </a:cxn>
                  <a:cxn ang="0">
                    <a:pos x="188" y="12"/>
                  </a:cxn>
                  <a:cxn ang="0">
                    <a:pos x="232" y="42"/>
                  </a:cxn>
                  <a:cxn ang="0">
                    <a:pos x="261" y="87"/>
                  </a:cxn>
                  <a:cxn ang="0">
                    <a:pos x="272" y="143"/>
                  </a:cxn>
                  <a:cxn ang="0">
                    <a:pos x="262" y="199"/>
                  </a:cxn>
                </a:cxnLst>
                <a:rect l="0" t="0" r="r" b="b"/>
                <a:pathLst>
                  <a:path w="273" h="289">
                    <a:moveTo>
                      <a:pt x="257" y="143"/>
                    </a:moveTo>
                    <a:lnTo>
                      <a:pt x="257" y="146"/>
                    </a:lnTo>
                    <a:lnTo>
                      <a:pt x="247" y="93"/>
                    </a:lnTo>
                    <a:lnTo>
                      <a:pt x="248" y="96"/>
                    </a:lnTo>
                    <a:lnTo>
                      <a:pt x="221" y="53"/>
                    </a:lnTo>
                    <a:lnTo>
                      <a:pt x="223" y="55"/>
                    </a:lnTo>
                    <a:lnTo>
                      <a:pt x="182" y="26"/>
                    </a:lnTo>
                    <a:lnTo>
                      <a:pt x="185" y="27"/>
                    </a:lnTo>
                    <a:lnTo>
                      <a:pt x="135" y="16"/>
                    </a:lnTo>
                    <a:lnTo>
                      <a:pt x="138" y="16"/>
                    </a:lnTo>
                    <a:lnTo>
                      <a:pt x="88" y="27"/>
                    </a:lnTo>
                    <a:lnTo>
                      <a:pt x="91" y="26"/>
                    </a:lnTo>
                    <a:lnTo>
                      <a:pt x="51" y="55"/>
                    </a:lnTo>
                    <a:lnTo>
                      <a:pt x="53" y="53"/>
                    </a:lnTo>
                    <a:lnTo>
                      <a:pt x="25" y="96"/>
                    </a:lnTo>
                    <a:lnTo>
                      <a:pt x="26" y="93"/>
                    </a:lnTo>
                    <a:lnTo>
                      <a:pt x="16" y="146"/>
                    </a:lnTo>
                    <a:lnTo>
                      <a:pt x="16" y="143"/>
                    </a:lnTo>
                    <a:lnTo>
                      <a:pt x="26" y="196"/>
                    </a:lnTo>
                    <a:lnTo>
                      <a:pt x="25" y="193"/>
                    </a:lnTo>
                    <a:lnTo>
                      <a:pt x="53" y="237"/>
                    </a:lnTo>
                    <a:lnTo>
                      <a:pt x="51" y="235"/>
                    </a:lnTo>
                    <a:lnTo>
                      <a:pt x="91" y="263"/>
                    </a:lnTo>
                    <a:lnTo>
                      <a:pt x="88" y="262"/>
                    </a:lnTo>
                    <a:lnTo>
                      <a:pt x="138" y="273"/>
                    </a:lnTo>
                    <a:lnTo>
                      <a:pt x="135" y="273"/>
                    </a:lnTo>
                    <a:lnTo>
                      <a:pt x="185" y="262"/>
                    </a:lnTo>
                    <a:lnTo>
                      <a:pt x="182" y="263"/>
                    </a:lnTo>
                    <a:lnTo>
                      <a:pt x="223" y="235"/>
                    </a:lnTo>
                    <a:lnTo>
                      <a:pt x="221" y="237"/>
                    </a:lnTo>
                    <a:lnTo>
                      <a:pt x="248" y="193"/>
                    </a:lnTo>
                    <a:lnTo>
                      <a:pt x="247" y="196"/>
                    </a:lnTo>
                    <a:lnTo>
                      <a:pt x="257" y="143"/>
                    </a:lnTo>
                    <a:close/>
                    <a:moveTo>
                      <a:pt x="262" y="199"/>
                    </a:moveTo>
                    <a:cubicBezTo>
                      <a:pt x="262" y="200"/>
                      <a:pt x="262" y="201"/>
                      <a:pt x="261" y="202"/>
                    </a:cubicBezTo>
                    <a:lnTo>
                      <a:pt x="234" y="246"/>
                    </a:lnTo>
                    <a:cubicBezTo>
                      <a:pt x="234" y="247"/>
                      <a:pt x="233" y="247"/>
                      <a:pt x="232" y="248"/>
                    </a:cubicBezTo>
                    <a:lnTo>
                      <a:pt x="191" y="276"/>
                    </a:lnTo>
                    <a:cubicBezTo>
                      <a:pt x="190" y="277"/>
                      <a:pt x="189" y="277"/>
                      <a:pt x="188" y="277"/>
                    </a:cubicBezTo>
                    <a:lnTo>
                      <a:pt x="138" y="288"/>
                    </a:lnTo>
                    <a:cubicBezTo>
                      <a:pt x="137" y="289"/>
                      <a:pt x="136" y="289"/>
                      <a:pt x="135" y="288"/>
                    </a:cubicBezTo>
                    <a:lnTo>
                      <a:pt x="85" y="277"/>
                    </a:lnTo>
                    <a:cubicBezTo>
                      <a:pt x="84" y="277"/>
                      <a:pt x="83" y="277"/>
                      <a:pt x="82" y="276"/>
                    </a:cubicBezTo>
                    <a:lnTo>
                      <a:pt x="42" y="248"/>
                    </a:lnTo>
                    <a:cubicBezTo>
                      <a:pt x="41" y="247"/>
                      <a:pt x="40" y="247"/>
                      <a:pt x="40" y="246"/>
                    </a:cubicBezTo>
                    <a:lnTo>
                      <a:pt x="12" y="202"/>
                    </a:lnTo>
                    <a:cubicBezTo>
                      <a:pt x="11" y="201"/>
                      <a:pt x="11" y="200"/>
                      <a:pt x="11" y="199"/>
                    </a:cubicBezTo>
                    <a:lnTo>
                      <a:pt x="1" y="146"/>
                    </a:lnTo>
                    <a:cubicBezTo>
                      <a:pt x="0" y="145"/>
                      <a:pt x="0" y="144"/>
                      <a:pt x="1" y="143"/>
                    </a:cubicBezTo>
                    <a:lnTo>
                      <a:pt x="11" y="90"/>
                    </a:lnTo>
                    <a:cubicBezTo>
                      <a:pt x="11" y="89"/>
                      <a:pt x="11" y="88"/>
                      <a:pt x="12" y="87"/>
                    </a:cubicBezTo>
                    <a:lnTo>
                      <a:pt x="40" y="44"/>
                    </a:lnTo>
                    <a:cubicBezTo>
                      <a:pt x="40" y="43"/>
                      <a:pt x="41" y="43"/>
                      <a:pt x="42" y="42"/>
                    </a:cubicBezTo>
                    <a:lnTo>
                      <a:pt x="82" y="13"/>
                    </a:lnTo>
                    <a:cubicBezTo>
                      <a:pt x="83" y="12"/>
                      <a:pt x="84" y="12"/>
                      <a:pt x="85" y="12"/>
                    </a:cubicBezTo>
                    <a:lnTo>
                      <a:pt x="135" y="1"/>
                    </a:lnTo>
                    <a:cubicBezTo>
                      <a:pt x="136" y="0"/>
                      <a:pt x="137" y="0"/>
                      <a:pt x="138" y="1"/>
                    </a:cubicBezTo>
                    <a:lnTo>
                      <a:pt x="188" y="12"/>
                    </a:lnTo>
                    <a:cubicBezTo>
                      <a:pt x="189" y="12"/>
                      <a:pt x="190" y="12"/>
                      <a:pt x="191" y="13"/>
                    </a:cubicBezTo>
                    <a:lnTo>
                      <a:pt x="232" y="42"/>
                    </a:lnTo>
                    <a:cubicBezTo>
                      <a:pt x="233" y="43"/>
                      <a:pt x="234" y="43"/>
                      <a:pt x="234" y="44"/>
                    </a:cubicBezTo>
                    <a:lnTo>
                      <a:pt x="261" y="87"/>
                    </a:lnTo>
                    <a:cubicBezTo>
                      <a:pt x="262" y="88"/>
                      <a:pt x="262" y="89"/>
                      <a:pt x="262" y="90"/>
                    </a:cubicBezTo>
                    <a:lnTo>
                      <a:pt x="272" y="143"/>
                    </a:lnTo>
                    <a:cubicBezTo>
                      <a:pt x="273" y="144"/>
                      <a:pt x="273" y="145"/>
                      <a:pt x="272" y="146"/>
                    </a:cubicBezTo>
                    <a:lnTo>
                      <a:pt x="262" y="199"/>
                    </a:lnTo>
                    <a:close/>
                  </a:path>
                </a:pathLst>
              </a:custGeom>
              <a:solidFill>
                <a:srgbClr val="1A171B"/>
              </a:solidFill>
              <a:ln w="0" cap="flat">
                <a:solidFill>
                  <a:srgbClr val="1A171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</p:grpSp>
        <p:pic>
          <p:nvPicPr>
            <p:cNvPr id="18" name="Picture 2" descr="D:\Project Data\MJ's Data\Assets\Pics And Logos\Human\SuccessfullDeveloper_0002.jpg"/>
            <p:cNvPicPr>
              <a:picLocks noChangeAspect="1" noChangeArrowheads="1"/>
            </p:cNvPicPr>
            <p:nvPr/>
          </p:nvPicPr>
          <p:blipFill>
            <a:blip r:embed="rId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6803480" y="2587777"/>
              <a:ext cx="819068" cy="614301"/>
            </a:xfrm>
            <a:prstGeom prst="rect">
              <a:avLst/>
            </a:prstGeom>
            <a:noFill/>
          </p:spPr>
        </p:pic>
      </p:grpSp>
      <p:sp>
        <p:nvSpPr>
          <p:cNvPr id="23" name="Rounded Rectangle 22"/>
          <p:cNvSpPr/>
          <p:nvPr/>
        </p:nvSpPr>
        <p:spPr>
          <a:xfrm>
            <a:off x="1143000" y="1600200"/>
            <a:ext cx="3017520" cy="914400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dirty="0">
                <a:solidFill>
                  <a:schemeClr val="tx1"/>
                </a:solidFill>
              </a:rPr>
              <a:t>Process</a:t>
            </a:r>
          </a:p>
        </p:txBody>
      </p:sp>
      <p:sp>
        <p:nvSpPr>
          <p:cNvPr id="24" name="Rounded Rectangle 23"/>
          <p:cNvSpPr/>
          <p:nvPr/>
        </p:nvSpPr>
        <p:spPr>
          <a:xfrm>
            <a:off x="4794025" y="1600200"/>
            <a:ext cx="3017520" cy="914400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Engineering Practices</a:t>
            </a:r>
          </a:p>
        </p:txBody>
      </p:sp>
    </p:spTree>
    <p:extLst>
      <p:ext uri="{BB962C8B-B14F-4D97-AF65-F5344CB8AC3E}">
        <p14:creationId xmlns:p14="http://schemas.microsoft.com/office/powerpoint/2010/main" val="178349896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"/>
          <p:cNvGrpSpPr>
            <a:grpSpLocks/>
          </p:cNvGrpSpPr>
          <p:nvPr/>
        </p:nvGrpSpPr>
        <p:grpSpPr bwMode="auto">
          <a:xfrm>
            <a:off x="651510" y="971550"/>
            <a:ext cx="3726180" cy="1840230"/>
            <a:chOff x="0" y="0"/>
            <a:chExt cx="2608" cy="1288"/>
          </a:xfrm>
        </p:grpSpPr>
        <p:sp>
          <p:nvSpPr>
            <p:cNvPr id="2" name="AutoShape 2"/>
            <p:cNvSpPr>
              <a:spLocks/>
            </p:cNvSpPr>
            <p:nvPr/>
          </p:nvSpPr>
          <p:spPr bwMode="auto">
            <a:xfrm>
              <a:off x="8" y="0"/>
              <a:ext cx="2600" cy="1288"/>
            </a:xfrm>
            <a:prstGeom prst="roundRect">
              <a:avLst>
                <a:gd name="adj" fmla="val 14903"/>
              </a:avLst>
            </a:prstGeom>
            <a:solidFill>
              <a:srgbClr val="E6E6E6"/>
            </a:solidFill>
            <a:ln w="25400">
              <a:solidFill>
                <a:srgbClr val="B3B3B3"/>
              </a:solidFill>
              <a:round/>
              <a:headEnd/>
              <a:tailEnd/>
            </a:ln>
            <a:effectLst>
              <a:outerShdw dist="63500" dir="2700000" algn="ctr" rotWithShape="0">
                <a:schemeClr val="bg2">
                  <a:alpha val="29999"/>
                </a:scheme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>
                <a:latin typeface="Gill Sans" pitchFamily="80" charset="0"/>
                <a:ea typeface="ヒラギノ角ゴ Pro W3" pitchFamily="80" charset="-128"/>
                <a:sym typeface="Gill Sans" pitchFamily="80" charset="0"/>
              </a:endParaRPr>
            </a:p>
          </p:txBody>
        </p:sp>
        <p:sp>
          <p:nvSpPr>
            <p:cNvPr id="49174" name="Rectangle 3"/>
            <p:cNvSpPr>
              <a:spLocks/>
            </p:cNvSpPr>
            <p:nvPr/>
          </p:nvSpPr>
          <p:spPr bwMode="auto">
            <a:xfrm>
              <a:off x="96" y="392"/>
              <a:ext cx="1768" cy="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buClr>
                  <a:srgbClr val="B3B3B3"/>
                </a:buClr>
                <a:buSzPct val="125000"/>
                <a:buFont typeface="Lucida Grande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B3B3B3"/>
                  </a:solidFill>
                </a:rPr>
                <a:t>Product owner</a:t>
              </a:r>
            </a:p>
            <a:p>
              <a:pPr>
                <a:buClr>
                  <a:srgbClr val="B3B3B3"/>
                </a:buClr>
                <a:buSzPct val="125000"/>
                <a:buFont typeface="Lucida Grande" pitchFamily="1" charset="0"/>
                <a:buChar char="•"/>
                <a:tabLst>
                  <a:tab pos="960120" algn="l"/>
                </a:tabLst>
              </a:pPr>
              <a:r>
                <a:rPr lang="en-US" sz="2500" dirty="0" err="1">
                  <a:solidFill>
                    <a:srgbClr val="B3B3B3"/>
                  </a:solidFill>
                </a:rPr>
                <a:t>ScrumMaster</a:t>
              </a:r>
              <a:endParaRPr lang="en-US" sz="2500" dirty="0">
                <a:solidFill>
                  <a:srgbClr val="B3B3B3"/>
                </a:solidFill>
              </a:endParaRPr>
            </a:p>
            <a:p>
              <a:pPr>
                <a:buClr>
                  <a:srgbClr val="B3B3B3"/>
                </a:buClr>
                <a:buSzPct val="125000"/>
                <a:buFont typeface="Lucida Grande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B3B3B3"/>
                  </a:solidFill>
                </a:rPr>
                <a:t>Team</a:t>
              </a:r>
            </a:p>
          </p:txBody>
        </p:sp>
        <p:sp>
          <p:nvSpPr>
            <p:cNvPr id="49175" name="Rectangle 4"/>
            <p:cNvSpPr>
              <a:spLocks/>
            </p:cNvSpPr>
            <p:nvPr/>
          </p:nvSpPr>
          <p:spPr bwMode="auto">
            <a:xfrm>
              <a:off x="304" y="0"/>
              <a:ext cx="1200" cy="376"/>
            </a:xfrm>
            <a:prstGeom prst="rect">
              <a:avLst/>
            </a:pr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76" name="AutoShape 5"/>
            <p:cNvSpPr>
              <a:spLocks/>
            </p:cNvSpPr>
            <p:nvPr/>
          </p:nvSpPr>
          <p:spPr bwMode="auto">
            <a:xfrm rot="10800000">
              <a:off x="1432" y="88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77" name="AutoShape 6"/>
            <p:cNvSpPr>
              <a:spLocks/>
            </p:cNvSpPr>
            <p:nvPr/>
          </p:nvSpPr>
          <p:spPr bwMode="auto">
            <a:xfrm>
              <a:off x="0" y="0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78" name="Rectangle 7"/>
            <p:cNvSpPr>
              <a:spLocks/>
            </p:cNvSpPr>
            <p:nvPr/>
          </p:nvSpPr>
          <p:spPr bwMode="auto">
            <a:xfrm>
              <a:off x="0" y="216"/>
              <a:ext cx="392" cy="160"/>
            </a:xfrm>
            <a:prstGeom prst="rect">
              <a:avLst/>
            </a:pr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79" name="Rectangle 8"/>
            <p:cNvSpPr>
              <a:spLocks/>
            </p:cNvSpPr>
            <p:nvPr/>
          </p:nvSpPr>
          <p:spPr bwMode="auto">
            <a:xfrm>
              <a:off x="1352" y="0"/>
              <a:ext cx="392" cy="160"/>
            </a:xfrm>
            <a:prstGeom prst="rect">
              <a:avLst/>
            </a:pr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80" name="Rectangle 9"/>
            <p:cNvSpPr>
              <a:spLocks/>
            </p:cNvSpPr>
            <p:nvPr/>
          </p:nvSpPr>
          <p:spPr bwMode="auto">
            <a:xfrm>
              <a:off x="104" y="8"/>
              <a:ext cx="1336" cy="3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tabLst>
                  <a:tab pos="960120" algn="l"/>
                </a:tabLst>
              </a:pPr>
              <a:r>
                <a:rPr lang="en-US" dirty="0">
                  <a:solidFill>
                    <a:srgbClr val="FFFFFF"/>
                  </a:solidFill>
                </a:rPr>
                <a:t>Roles</a:t>
              </a:r>
            </a:p>
          </p:txBody>
        </p:sp>
      </p:grpSp>
      <p:sp>
        <p:nvSpPr>
          <p:cNvPr id="26627" name="Rectangle 10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>
              <a:defRPr/>
            </a:pPr>
            <a:r>
              <a:rPr lang="en-US" sz="2800" dirty="0">
                <a:sym typeface="Gill Sans" charset="0"/>
              </a:rPr>
              <a:t>Scrum framework</a:t>
            </a:r>
          </a:p>
        </p:txBody>
      </p:sp>
      <p:grpSp>
        <p:nvGrpSpPr>
          <p:cNvPr id="5" name="Group 11"/>
          <p:cNvGrpSpPr>
            <a:grpSpLocks/>
          </p:cNvGrpSpPr>
          <p:nvPr/>
        </p:nvGrpSpPr>
        <p:grpSpPr bwMode="auto">
          <a:xfrm>
            <a:off x="4594860" y="4594860"/>
            <a:ext cx="3726180" cy="1840230"/>
            <a:chOff x="0" y="0"/>
            <a:chExt cx="2608" cy="1288"/>
          </a:xfrm>
        </p:grpSpPr>
        <p:sp>
          <p:nvSpPr>
            <p:cNvPr id="3" name="AutoShape 12"/>
            <p:cNvSpPr>
              <a:spLocks/>
            </p:cNvSpPr>
            <p:nvPr/>
          </p:nvSpPr>
          <p:spPr bwMode="auto">
            <a:xfrm>
              <a:off x="8" y="0"/>
              <a:ext cx="2600" cy="1288"/>
            </a:xfrm>
            <a:prstGeom prst="roundRect">
              <a:avLst>
                <a:gd name="adj" fmla="val 14903"/>
              </a:avLst>
            </a:prstGeom>
            <a:solidFill>
              <a:srgbClr val="E6E6E6"/>
            </a:solidFill>
            <a:ln w="25400">
              <a:solidFill>
                <a:srgbClr val="B3B3B3"/>
              </a:solidFill>
              <a:round/>
              <a:headEnd/>
              <a:tailEnd/>
            </a:ln>
            <a:effectLst>
              <a:outerShdw dist="63500" dir="2700000" algn="ctr" rotWithShape="0">
                <a:schemeClr val="bg2">
                  <a:alpha val="29999"/>
                </a:scheme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>
                <a:latin typeface="Gill Sans" pitchFamily="80" charset="0"/>
                <a:ea typeface="ヒラギノ角ゴ Pro W3" pitchFamily="80" charset="-128"/>
                <a:sym typeface="Gill Sans" pitchFamily="80" charset="0"/>
              </a:endParaRPr>
            </a:p>
          </p:txBody>
        </p:sp>
        <p:sp>
          <p:nvSpPr>
            <p:cNvPr id="49166" name="Rectangle 13"/>
            <p:cNvSpPr>
              <a:spLocks/>
            </p:cNvSpPr>
            <p:nvPr/>
          </p:nvSpPr>
          <p:spPr bwMode="auto">
            <a:xfrm>
              <a:off x="96" y="392"/>
              <a:ext cx="2376" cy="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buClr>
                  <a:srgbClr val="B3B3B3"/>
                </a:buClr>
                <a:buSzPct val="125000"/>
                <a:buFont typeface="Lucida Grande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B3B3B3"/>
                  </a:solidFill>
                </a:rPr>
                <a:t>Product backlog</a:t>
              </a:r>
            </a:p>
            <a:p>
              <a:pPr>
                <a:buClr>
                  <a:srgbClr val="B3B3B3"/>
                </a:buClr>
                <a:buSzPct val="125000"/>
                <a:buFont typeface="Lucida Grande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B3B3B3"/>
                  </a:solidFill>
                </a:rPr>
                <a:t>Sprint backlog</a:t>
              </a:r>
            </a:p>
            <a:p>
              <a:pPr>
                <a:buClr>
                  <a:srgbClr val="B3B3B3"/>
                </a:buClr>
                <a:buSzPct val="125000"/>
                <a:buFont typeface="Lucida Grande" pitchFamily="1" charset="0"/>
                <a:buChar char="•"/>
                <a:tabLst>
                  <a:tab pos="960120" algn="l"/>
                </a:tabLst>
              </a:pPr>
              <a:r>
                <a:rPr lang="en-US" sz="2500" dirty="0" err="1">
                  <a:solidFill>
                    <a:srgbClr val="B3B3B3"/>
                  </a:solidFill>
                </a:rPr>
                <a:t>Burndown</a:t>
              </a:r>
              <a:r>
                <a:rPr lang="en-US" sz="2500" dirty="0">
                  <a:solidFill>
                    <a:srgbClr val="B3B3B3"/>
                  </a:solidFill>
                </a:rPr>
                <a:t> charts</a:t>
              </a:r>
            </a:p>
          </p:txBody>
        </p:sp>
        <p:sp>
          <p:nvSpPr>
            <p:cNvPr id="49167" name="Rectangle 14"/>
            <p:cNvSpPr>
              <a:spLocks/>
            </p:cNvSpPr>
            <p:nvPr/>
          </p:nvSpPr>
          <p:spPr bwMode="auto">
            <a:xfrm>
              <a:off x="304" y="0"/>
              <a:ext cx="1200" cy="376"/>
            </a:xfrm>
            <a:prstGeom prst="rect">
              <a:avLst/>
            </a:pr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68" name="AutoShape 15"/>
            <p:cNvSpPr>
              <a:spLocks/>
            </p:cNvSpPr>
            <p:nvPr/>
          </p:nvSpPr>
          <p:spPr bwMode="auto">
            <a:xfrm rot="10800000">
              <a:off x="1432" y="88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69" name="AutoShape 16"/>
            <p:cNvSpPr>
              <a:spLocks/>
            </p:cNvSpPr>
            <p:nvPr/>
          </p:nvSpPr>
          <p:spPr bwMode="auto">
            <a:xfrm>
              <a:off x="0" y="0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70" name="Rectangle 17"/>
            <p:cNvSpPr>
              <a:spLocks/>
            </p:cNvSpPr>
            <p:nvPr/>
          </p:nvSpPr>
          <p:spPr bwMode="auto">
            <a:xfrm>
              <a:off x="0" y="216"/>
              <a:ext cx="392" cy="160"/>
            </a:xfrm>
            <a:prstGeom prst="rect">
              <a:avLst/>
            </a:pr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71" name="Rectangle 18"/>
            <p:cNvSpPr>
              <a:spLocks/>
            </p:cNvSpPr>
            <p:nvPr/>
          </p:nvSpPr>
          <p:spPr bwMode="auto">
            <a:xfrm>
              <a:off x="1352" y="0"/>
              <a:ext cx="392" cy="160"/>
            </a:xfrm>
            <a:prstGeom prst="rect">
              <a:avLst/>
            </a:pr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72" name="Rectangle 19"/>
            <p:cNvSpPr>
              <a:spLocks/>
            </p:cNvSpPr>
            <p:nvPr/>
          </p:nvSpPr>
          <p:spPr bwMode="auto">
            <a:xfrm>
              <a:off x="104" y="8"/>
              <a:ext cx="1336" cy="3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tabLst>
                  <a:tab pos="960120" algn="l"/>
                </a:tabLst>
              </a:pPr>
              <a:r>
                <a:rPr lang="en-US" dirty="0">
                  <a:solidFill>
                    <a:srgbClr val="FFFFFF"/>
                  </a:solidFill>
                </a:rPr>
                <a:t>Artifacts</a:t>
              </a:r>
            </a:p>
          </p:txBody>
        </p:sp>
      </p:grpSp>
      <p:grpSp>
        <p:nvGrpSpPr>
          <p:cNvPr id="6" name="Group 20"/>
          <p:cNvGrpSpPr>
            <a:grpSpLocks/>
          </p:cNvGrpSpPr>
          <p:nvPr/>
        </p:nvGrpSpPr>
        <p:grpSpPr bwMode="auto">
          <a:xfrm>
            <a:off x="2800350" y="2537460"/>
            <a:ext cx="4286250" cy="2788920"/>
            <a:chOff x="0" y="0"/>
            <a:chExt cx="2608" cy="1592"/>
          </a:xfrm>
        </p:grpSpPr>
        <p:sp>
          <p:nvSpPr>
            <p:cNvPr id="26645" name="AutoShape 21"/>
            <p:cNvSpPr>
              <a:spLocks/>
            </p:cNvSpPr>
            <p:nvPr/>
          </p:nvSpPr>
          <p:spPr bwMode="auto">
            <a:xfrm>
              <a:off x="8" y="0"/>
              <a:ext cx="2600" cy="1592"/>
            </a:xfrm>
            <a:prstGeom prst="roundRect">
              <a:avLst>
                <a:gd name="adj" fmla="val 12060"/>
              </a:avLst>
            </a:prstGeom>
            <a:blipFill dpi="0" rotWithShape="0">
              <a:blip r:embed="rId3" cstate="print"/>
              <a:srcRect/>
              <a:tile tx="0" ty="0" sx="100000" sy="100000" flip="none" algn="tl"/>
            </a:blipFill>
            <a:ln w="25400">
              <a:solidFill>
                <a:srgbClr val="003C83"/>
              </a:solidFill>
              <a:round/>
              <a:headEnd/>
              <a:tailEnd/>
            </a:ln>
            <a:effectLst>
              <a:outerShdw dist="63500" dir="2700000" algn="ctr" rotWithShape="0">
                <a:schemeClr val="bg2">
                  <a:alpha val="29999"/>
                </a:scheme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>
                <a:latin typeface="Gill Sans" pitchFamily="80" charset="0"/>
                <a:ea typeface="ヒラギノ角ゴ Pro W3" pitchFamily="80" charset="-128"/>
                <a:sym typeface="Gill Sans" pitchFamily="80" charset="0"/>
              </a:endParaRPr>
            </a:p>
          </p:txBody>
        </p:sp>
        <p:sp>
          <p:nvSpPr>
            <p:cNvPr id="49158" name="Rectangle 22"/>
            <p:cNvSpPr>
              <a:spLocks/>
            </p:cNvSpPr>
            <p:nvPr/>
          </p:nvSpPr>
          <p:spPr bwMode="auto">
            <a:xfrm>
              <a:off x="96" y="392"/>
              <a:ext cx="2320" cy="10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FFFFFF"/>
                  </a:solidFill>
                </a:rPr>
                <a:t>Sprint planning</a:t>
              </a:r>
            </a:p>
            <a:p>
              <a:pPr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FFFFFF"/>
                  </a:solidFill>
                </a:rPr>
                <a:t>Sprint review</a:t>
              </a:r>
            </a:p>
            <a:p>
              <a:pPr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FFFFFF"/>
                  </a:solidFill>
                </a:rPr>
                <a:t>Sprint retrospective</a:t>
              </a:r>
            </a:p>
            <a:p>
              <a:pPr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FFFFFF"/>
                  </a:solidFill>
                </a:rPr>
                <a:t>Daily scrum meeting</a:t>
              </a:r>
            </a:p>
          </p:txBody>
        </p:sp>
        <p:sp>
          <p:nvSpPr>
            <p:cNvPr id="49159" name="Rectangle 23"/>
            <p:cNvSpPr>
              <a:spLocks/>
            </p:cNvSpPr>
            <p:nvPr/>
          </p:nvSpPr>
          <p:spPr bwMode="auto">
            <a:xfrm>
              <a:off x="304" y="0"/>
              <a:ext cx="1200" cy="376"/>
            </a:xfrm>
            <a:prstGeom prst="rect">
              <a:avLst/>
            </a:pr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60" name="AutoShape 24"/>
            <p:cNvSpPr>
              <a:spLocks/>
            </p:cNvSpPr>
            <p:nvPr/>
          </p:nvSpPr>
          <p:spPr bwMode="auto">
            <a:xfrm rot="10800000">
              <a:off x="1432" y="88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61" name="AutoShape 25"/>
            <p:cNvSpPr>
              <a:spLocks/>
            </p:cNvSpPr>
            <p:nvPr/>
          </p:nvSpPr>
          <p:spPr bwMode="auto">
            <a:xfrm>
              <a:off x="0" y="0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62" name="Rectangle 26"/>
            <p:cNvSpPr>
              <a:spLocks/>
            </p:cNvSpPr>
            <p:nvPr/>
          </p:nvSpPr>
          <p:spPr bwMode="auto">
            <a:xfrm>
              <a:off x="0" y="216"/>
              <a:ext cx="392" cy="160"/>
            </a:xfrm>
            <a:prstGeom prst="rect">
              <a:avLst/>
            </a:pr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63" name="Rectangle 27"/>
            <p:cNvSpPr>
              <a:spLocks/>
            </p:cNvSpPr>
            <p:nvPr/>
          </p:nvSpPr>
          <p:spPr bwMode="auto">
            <a:xfrm>
              <a:off x="1352" y="0"/>
              <a:ext cx="392" cy="160"/>
            </a:xfrm>
            <a:prstGeom prst="rect">
              <a:avLst/>
            </a:pr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64" name="Rectangle 28"/>
            <p:cNvSpPr>
              <a:spLocks/>
            </p:cNvSpPr>
            <p:nvPr/>
          </p:nvSpPr>
          <p:spPr bwMode="auto">
            <a:xfrm>
              <a:off x="104" y="8"/>
              <a:ext cx="1640" cy="3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tabLst>
                  <a:tab pos="960120" algn="l"/>
                </a:tabLst>
              </a:pPr>
              <a:r>
                <a:rPr lang="en-US" dirty="0">
                  <a:solidFill>
                    <a:srgbClr val="FFFFFF"/>
                  </a:solidFill>
                </a:rPr>
                <a:t>Ceremonies</a:t>
              </a:r>
            </a:p>
          </p:txBody>
        </p:sp>
      </p:grpSp>
    </p:spTree>
  </p:cSld>
  <p:clrMapOvr>
    <a:masterClrMapping/>
  </p:clrMapOvr>
  <p:transition spd="med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42098"/>
            <a:ext cx="9144000" cy="1001713"/>
          </a:xfrm>
        </p:spPr>
        <p:txBody>
          <a:bodyPr/>
          <a:lstStyle/>
          <a:p>
            <a:pPr algn="l"/>
            <a:r>
              <a:rPr lang="en-US" sz="2800" dirty="0">
                <a:solidFill>
                  <a:schemeClr val="tx2">
                    <a:lumMod val="50000"/>
                  </a:schemeClr>
                </a:solidFill>
              </a:rPr>
              <a:t>	</a:t>
            </a:r>
            <a:r>
              <a:rPr lang="en-US" sz="2800" dirty="0"/>
              <a:t>Scrum with 2 weeks Sprint Duration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2127" y="1257118"/>
            <a:ext cx="8042295" cy="4582274"/>
          </a:xfrm>
          <a:prstGeom prst="round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834578" y="1404416"/>
            <a:ext cx="1346705" cy="212303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Day 1</a:t>
            </a:r>
            <a:endParaRPr lang="en-US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832998" y="1666372"/>
            <a:ext cx="1359349" cy="1780854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842483" y="3570520"/>
            <a:ext cx="1346705" cy="212303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Day 6</a:t>
            </a:r>
          </a:p>
        </p:txBody>
      </p:sp>
      <p:sp>
        <p:nvSpPr>
          <p:cNvPr id="14" name="Rectangle 13"/>
          <p:cNvSpPr/>
          <p:nvPr/>
        </p:nvSpPr>
        <p:spPr>
          <a:xfrm>
            <a:off x="840904" y="3842751"/>
            <a:ext cx="1370411" cy="1700399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302992" y="1402705"/>
            <a:ext cx="1346705" cy="212303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Day 2</a:t>
            </a:r>
            <a:endParaRPr lang="en-US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2310897" y="3568808"/>
            <a:ext cx="1346705" cy="212303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Day 7</a:t>
            </a:r>
          </a:p>
        </p:txBody>
      </p:sp>
      <p:sp>
        <p:nvSpPr>
          <p:cNvPr id="17" name="Rectangle 16"/>
          <p:cNvSpPr/>
          <p:nvPr/>
        </p:nvSpPr>
        <p:spPr>
          <a:xfrm>
            <a:off x="2309318" y="3841040"/>
            <a:ext cx="1370411" cy="1700399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791955" y="1382155"/>
            <a:ext cx="1346705" cy="212303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Day 3</a:t>
            </a:r>
            <a:endParaRPr lang="en-US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3790375" y="1644111"/>
            <a:ext cx="1359349" cy="1780854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3799860" y="3548259"/>
            <a:ext cx="1346705" cy="212303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Day 8</a:t>
            </a:r>
          </a:p>
        </p:txBody>
      </p:sp>
      <p:sp>
        <p:nvSpPr>
          <p:cNvPr id="21" name="Rectangle 20"/>
          <p:cNvSpPr/>
          <p:nvPr/>
        </p:nvSpPr>
        <p:spPr>
          <a:xfrm>
            <a:off x="3798281" y="3820490"/>
            <a:ext cx="1370411" cy="1700399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5328336" y="1361607"/>
            <a:ext cx="1346705" cy="212303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Day 4</a:t>
            </a:r>
            <a:endParaRPr lang="en-US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5326757" y="1623563"/>
            <a:ext cx="1359349" cy="1780854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5336241" y="3527711"/>
            <a:ext cx="1346705" cy="212303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Day 9</a:t>
            </a:r>
          </a:p>
        </p:txBody>
      </p:sp>
      <p:sp>
        <p:nvSpPr>
          <p:cNvPr id="25" name="Rectangle 24"/>
          <p:cNvSpPr/>
          <p:nvPr/>
        </p:nvSpPr>
        <p:spPr>
          <a:xfrm>
            <a:off x="5334662" y="3799942"/>
            <a:ext cx="1370411" cy="1700399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6817299" y="1341059"/>
            <a:ext cx="1346705" cy="212303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Day 5</a:t>
            </a:r>
            <a:endParaRPr lang="en-US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6815719" y="1603015"/>
            <a:ext cx="1359349" cy="1780854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6825204" y="3507163"/>
            <a:ext cx="1346705" cy="212303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Day 10</a:t>
            </a:r>
          </a:p>
        </p:txBody>
      </p:sp>
      <p:sp>
        <p:nvSpPr>
          <p:cNvPr id="29" name="Rectangle 28"/>
          <p:cNvSpPr/>
          <p:nvPr/>
        </p:nvSpPr>
        <p:spPr>
          <a:xfrm>
            <a:off x="6823625" y="3779394"/>
            <a:ext cx="1370411" cy="1700399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0" name="Rounded Rectangle 29"/>
          <p:cNvSpPr/>
          <p:nvPr/>
        </p:nvSpPr>
        <p:spPr>
          <a:xfrm>
            <a:off x="3848858" y="1707470"/>
            <a:ext cx="1232899" cy="164387"/>
          </a:xfrm>
          <a:prstGeom prst="round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2">
                    <a:lumMod val="50000"/>
                  </a:schemeClr>
                </a:solidFill>
              </a:rPr>
              <a:t>Daily Scrum</a:t>
            </a:r>
          </a:p>
        </p:txBody>
      </p:sp>
      <p:sp>
        <p:nvSpPr>
          <p:cNvPr id="31" name="Rounded Rectangle 30"/>
          <p:cNvSpPr/>
          <p:nvPr/>
        </p:nvSpPr>
        <p:spPr>
          <a:xfrm>
            <a:off x="5394723" y="1697196"/>
            <a:ext cx="1232899" cy="164387"/>
          </a:xfrm>
          <a:prstGeom prst="round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2">
                    <a:lumMod val="50000"/>
                  </a:schemeClr>
                </a:solidFill>
              </a:rPr>
              <a:t>Daily Scrum</a:t>
            </a:r>
          </a:p>
        </p:txBody>
      </p:sp>
      <p:sp>
        <p:nvSpPr>
          <p:cNvPr id="32" name="Rounded Rectangle 31"/>
          <p:cNvSpPr/>
          <p:nvPr/>
        </p:nvSpPr>
        <p:spPr>
          <a:xfrm>
            <a:off x="6874202" y="1666372"/>
            <a:ext cx="1232899" cy="164387"/>
          </a:xfrm>
          <a:prstGeom prst="round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2">
                    <a:lumMod val="50000"/>
                  </a:schemeClr>
                </a:solidFill>
              </a:rPr>
              <a:t>Daily Scrum</a:t>
            </a:r>
          </a:p>
        </p:txBody>
      </p:sp>
      <p:sp>
        <p:nvSpPr>
          <p:cNvPr id="33" name="Rounded Rectangle 32"/>
          <p:cNvSpPr/>
          <p:nvPr/>
        </p:nvSpPr>
        <p:spPr>
          <a:xfrm>
            <a:off x="908868" y="3906141"/>
            <a:ext cx="1232899" cy="164387"/>
          </a:xfrm>
          <a:prstGeom prst="round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2">
                    <a:lumMod val="50000"/>
                  </a:schemeClr>
                </a:solidFill>
              </a:rPr>
              <a:t>Daily Scrum</a:t>
            </a:r>
          </a:p>
        </p:txBody>
      </p:sp>
      <p:sp>
        <p:nvSpPr>
          <p:cNvPr id="34" name="Rounded Rectangle 33"/>
          <p:cNvSpPr/>
          <p:nvPr/>
        </p:nvSpPr>
        <p:spPr>
          <a:xfrm>
            <a:off x="2369379" y="3885594"/>
            <a:ext cx="1232899" cy="164387"/>
          </a:xfrm>
          <a:prstGeom prst="round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2">
                    <a:lumMod val="50000"/>
                  </a:schemeClr>
                </a:solidFill>
              </a:rPr>
              <a:t>Daily Scrum</a:t>
            </a:r>
          </a:p>
        </p:txBody>
      </p:sp>
      <p:sp>
        <p:nvSpPr>
          <p:cNvPr id="35" name="Rounded Rectangle 34"/>
          <p:cNvSpPr/>
          <p:nvPr/>
        </p:nvSpPr>
        <p:spPr>
          <a:xfrm>
            <a:off x="3858342" y="3885594"/>
            <a:ext cx="1232899" cy="164387"/>
          </a:xfrm>
          <a:prstGeom prst="round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2">
                    <a:lumMod val="50000"/>
                  </a:schemeClr>
                </a:solidFill>
              </a:rPr>
              <a:t>Daily Scrum</a:t>
            </a:r>
          </a:p>
        </p:txBody>
      </p:sp>
      <p:sp>
        <p:nvSpPr>
          <p:cNvPr id="36" name="Rounded Rectangle 35"/>
          <p:cNvSpPr/>
          <p:nvPr/>
        </p:nvSpPr>
        <p:spPr>
          <a:xfrm>
            <a:off x="5404206" y="3854770"/>
            <a:ext cx="1232899" cy="164387"/>
          </a:xfrm>
          <a:prstGeom prst="round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2">
                    <a:lumMod val="50000"/>
                  </a:schemeClr>
                </a:solidFill>
              </a:rPr>
              <a:t>Daily Scrum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3907341" y="5541446"/>
            <a:ext cx="15838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Sprint </a:t>
            </a:r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(2 weeks)</a:t>
            </a:r>
          </a:p>
        </p:txBody>
      </p:sp>
      <p:sp>
        <p:nvSpPr>
          <p:cNvPr id="38" name="Rounded Rectangle 37"/>
          <p:cNvSpPr/>
          <p:nvPr/>
        </p:nvSpPr>
        <p:spPr>
          <a:xfrm>
            <a:off x="385675" y="5959012"/>
            <a:ext cx="932579" cy="297951"/>
          </a:xfrm>
          <a:prstGeom prst="round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2">
                    <a:lumMod val="50000"/>
                  </a:schemeClr>
                </a:solidFill>
              </a:rPr>
              <a:t>Ceremonies</a:t>
            </a:r>
          </a:p>
        </p:txBody>
      </p:sp>
      <p:sp>
        <p:nvSpPr>
          <p:cNvPr id="39" name="Oval 38"/>
          <p:cNvSpPr/>
          <p:nvPr/>
        </p:nvSpPr>
        <p:spPr>
          <a:xfrm>
            <a:off x="1438383" y="5878159"/>
            <a:ext cx="1524797" cy="440449"/>
          </a:xfrm>
          <a:prstGeom prst="ellipse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2">
                    <a:lumMod val="50000"/>
                  </a:schemeClr>
                </a:solidFill>
              </a:rPr>
              <a:t>Mandatory meeting but not a scrum ceremony</a:t>
            </a:r>
          </a:p>
        </p:txBody>
      </p:sp>
      <p:sp>
        <p:nvSpPr>
          <p:cNvPr id="40" name="Oval 39"/>
          <p:cNvSpPr/>
          <p:nvPr/>
        </p:nvSpPr>
        <p:spPr>
          <a:xfrm>
            <a:off x="3058535" y="5930201"/>
            <a:ext cx="1369934" cy="362723"/>
          </a:xfrm>
          <a:prstGeom prst="ellipse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2">
                    <a:lumMod val="50000"/>
                  </a:schemeClr>
                </a:solidFill>
              </a:rPr>
              <a:t>Optional meeting and not a scrum ceremony</a:t>
            </a:r>
          </a:p>
        </p:txBody>
      </p:sp>
      <p:sp>
        <p:nvSpPr>
          <p:cNvPr id="41" name="Rounded Rectangle 40"/>
          <p:cNvSpPr/>
          <p:nvPr/>
        </p:nvSpPr>
        <p:spPr>
          <a:xfrm>
            <a:off x="6872619" y="3822236"/>
            <a:ext cx="1232899" cy="164387"/>
          </a:xfrm>
          <a:prstGeom prst="round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2">
                    <a:lumMod val="50000"/>
                  </a:schemeClr>
                </a:solidFill>
              </a:rPr>
              <a:t>Daily Scrum</a:t>
            </a:r>
          </a:p>
        </p:txBody>
      </p:sp>
      <p:cxnSp>
        <p:nvCxnSpPr>
          <p:cNvPr id="42" name="Straight Connector 41"/>
          <p:cNvCxnSpPr/>
          <p:nvPr/>
        </p:nvCxnSpPr>
        <p:spPr>
          <a:xfrm>
            <a:off x="817267" y="2053771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>
            <a:off x="810570" y="2510974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>
            <a:off x="830670" y="2982690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65"/>
          <p:cNvGrpSpPr/>
          <p:nvPr/>
        </p:nvGrpSpPr>
        <p:grpSpPr>
          <a:xfrm>
            <a:off x="2301413" y="1664661"/>
            <a:ext cx="1359349" cy="1780854"/>
            <a:chOff x="2493197" y="1599345"/>
            <a:chExt cx="1472628" cy="1780854"/>
          </a:xfrm>
        </p:grpSpPr>
        <p:sp>
          <p:nvSpPr>
            <p:cNvPr id="46" name="Rectangle 45"/>
            <p:cNvSpPr/>
            <p:nvPr/>
          </p:nvSpPr>
          <p:spPr>
            <a:xfrm>
              <a:off x="2493197" y="1599345"/>
              <a:ext cx="1472628" cy="1780854"/>
            </a:xfrm>
            <a:prstGeom prst="rect">
              <a:avLst/>
            </a:prstGeom>
            <a:ln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2400" dirty="0" err="1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47" name="Rounded Rectangle 46"/>
            <p:cNvSpPr/>
            <p:nvPr/>
          </p:nvSpPr>
          <p:spPr>
            <a:xfrm>
              <a:off x="2568539" y="1643865"/>
              <a:ext cx="1335641" cy="164387"/>
            </a:xfrm>
            <a:prstGeom prst="roundRect">
              <a:avLst/>
            </a:prstGeom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tx2">
                      <a:lumMod val="50000"/>
                    </a:schemeClr>
                  </a:solidFill>
                </a:rPr>
                <a:t>Daily Scrum</a:t>
              </a:r>
            </a:p>
          </p:txBody>
        </p:sp>
      </p:grpSp>
      <p:cxnSp>
        <p:nvCxnSpPr>
          <p:cNvPr id="48" name="Straight Connector 47"/>
          <p:cNvCxnSpPr/>
          <p:nvPr/>
        </p:nvCxnSpPr>
        <p:spPr>
          <a:xfrm>
            <a:off x="6806086" y="4572000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/>
        </p:nvCxnSpPr>
        <p:spPr>
          <a:xfrm>
            <a:off x="2284300" y="2061031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>
          <a:xfrm>
            <a:off x="2277603" y="2518234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/>
        </p:nvCxnSpPr>
        <p:spPr>
          <a:xfrm>
            <a:off x="2297703" y="2989950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/>
        </p:nvCxnSpPr>
        <p:spPr>
          <a:xfrm>
            <a:off x="3758030" y="2061031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>
            <a:off x="3751333" y="2518234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/>
        </p:nvCxnSpPr>
        <p:spPr>
          <a:xfrm>
            <a:off x="3771433" y="2989950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/>
        </p:nvCxnSpPr>
        <p:spPr>
          <a:xfrm>
            <a:off x="5325606" y="2046513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/>
        </p:nvCxnSpPr>
        <p:spPr>
          <a:xfrm>
            <a:off x="5318909" y="2503716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/>
        </p:nvCxnSpPr>
        <p:spPr>
          <a:xfrm>
            <a:off x="5339009" y="2975432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/>
        </p:nvCxnSpPr>
        <p:spPr>
          <a:xfrm>
            <a:off x="6785989" y="2046514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/>
        </p:nvCxnSpPr>
        <p:spPr>
          <a:xfrm>
            <a:off x="6779292" y="2503717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/>
        </p:nvCxnSpPr>
        <p:spPr>
          <a:xfrm>
            <a:off x="6799392" y="2975433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/>
          <p:nvPr/>
        </p:nvCxnSpPr>
        <p:spPr>
          <a:xfrm>
            <a:off x="837363" y="4252685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/>
        </p:nvCxnSpPr>
        <p:spPr>
          <a:xfrm>
            <a:off x="830666" y="4622804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/>
        </p:nvCxnSpPr>
        <p:spPr>
          <a:xfrm>
            <a:off x="850766" y="5094520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/>
        </p:nvCxnSpPr>
        <p:spPr>
          <a:xfrm>
            <a:off x="2304397" y="4259945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/>
        </p:nvCxnSpPr>
        <p:spPr>
          <a:xfrm>
            <a:off x="2297700" y="4630064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/>
        </p:nvCxnSpPr>
        <p:spPr>
          <a:xfrm>
            <a:off x="2317800" y="5101780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/>
        </p:nvCxnSpPr>
        <p:spPr>
          <a:xfrm>
            <a:off x="3778126" y="4259945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/>
        </p:nvCxnSpPr>
        <p:spPr>
          <a:xfrm>
            <a:off x="3771429" y="4630064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/>
          <p:cNvCxnSpPr/>
          <p:nvPr/>
        </p:nvCxnSpPr>
        <p:spPr>
          <a:xfrm>
            <a:off x="3791529" y="5101780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/>
          <p:cNvCxnSpPr/>
          <p:nvPr/>
        </p:nvCxnSpPr>
        <p:spPr>
          <a:xfrm>
            <a:off x="5345702" y="4245427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/>
          <p:cNvCxnSpPr/>
          <p:nvPr/>
        </p:nvCxnSpPr>
        <p:spPr>
          <a:xfrm>
            <a:off x="5339006" y="4615546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/>
          <p:cNvCxnSpPr/>
          <p:nvPr/>
        </p:nvCxnSpPr>
        <p:spPr>
          <a:xfrm>
            <a:off x="5359106" y="5087262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/>
          <p:cNvCxnSpPr/>
          <p:nvPr/>
        </p:nvCxnSpPr>
        <p:spPr>
          <a:xfrm>
            <a:off x="6806085" y="4245428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/>
          <p:cNvCxnSpPr/>
          <p:nvPr/>
        </p:nvCxnSpPr>
        <p:spPr>
          <a:xfrm>
            <a:off x="6799388" y="4702631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74"/>
          <p:cNvSpPr txBox="1"/>
          <p:nvPr/>
        </p:nvSpPr>
        <p:spPr>
          <a:xfrm>
            <a:off x="495719" y="1647375"/>
            <a:ext cx="495717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9 am</a:t>
            </a:r>
          </a:p>
          <a:p>
            <a:endParaRPr lang="en-US" sz="800" dirty="0">
              <a:solidFill>
                <a:schemeClr val="tx2">
                  <a:lumMod val="50000"/>
                </a:schemeClr>
              </a:solidFill>
            </a:endParaRPr>
          </a:p>
          <a:p>
            <a:endParaRPr lang="en-US" sz="800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11 am</a:t>
            </a:r>
          </a:p>
          <a:p>
            <a:endParaRPr lang="en-US" sz="800" dirty="0">
              <a:solidFill>
                <a:schemeClr val="tx2">
                  <a:lumMod val="50000"/>
                </a:schemeClr>
              </a:solidFill>
            </a:endParaRPr>
          </a:p>
          <a:p>
            <a:endParaRPr lang="en-US" sz="800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1 pm</a:t>
            </a:r>
          </a:p>
          <a:p>
            <a:endParaRPr lang="en-US" sz="800" dirty="0">
              <a:solidFill>
                <a:schemeClr val="tx2">
                  <a:lumMod val="50000"/>
                </a:schemeClr>
              </a:solidFill>
            </a:endParaRPr>
          </a:p>
          <a:p>
            <a:endParaRPr lang="en-US" sz="800" dirty="0">
              <a:solidFill>
                <a:schemeClr val="tx2">
                  <a:lumMod val="50000"/>
                </a:schemeClr>
              </a:solidFill>
            </a:endParaRPr>
          </a:p>
          <a:p>
            <a:endParaRPr lang="en-US" sz="800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3 pm</a:t>
            </a:r>
          </a:p>
          <a:p>
            <a:endParaRPr lang="en-US" sz="800" dirty="0">
              <a:solidFill>
                <a:schemeClr val="tx2">
                  <a:lumMod val="50000"/>
                </a:schemeClr>
              </a:solidFill>
            </a:endParaRPr>
          </a:p>
          <a:p>
            <a:endParaRPr lang="en-US" sz="800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5 </a:t>
            </a:r>
            <a:r>
              <a:rPr lang="en-US" sz="800" dirty="0" err="1">
                <a:solidFill>
                  <a:schemeClr val="tx2">
                    <a:lumMod val="50000"/>
                  </a:schemeClr>
                </a:solidFill>
              </a:rPr>
              <a:t>pmv</a:t>
            </a:r>
            <a:endParaRPr lang="en-US" sz="8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6" name="Rounded Rectangle 75"/>
          <p:cNvSpPr/>
          <p:nvPr/>
        </p:nvSpPr>
        <p:spPr>
          <a:xfrm>
            <a:off x="893740" y="1738214"/>
            <a:ext cx="1236510" cy="707445"/>
          </a:xfrm>
          <a:prstGeom prst="round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2">
                    <a:lumMod val="50000"/>
                  </a:schemeClr>
                </a:solidFill>
              </a:rPr>
              <a:t>Sprint Planning  </a:t>
            </a:r>
          </a:p>
          <a:p>
            <a:pPr algn="ctr"/>
            <a:r>
              <a:rPr lang="en-US" sz="900" dirty="0">
                <a:solidFill>
                  <a:schemeClr val="tx2">
                    <a:lumMod val="50000"/>
                  </a:schemeClr>
                </a:solidFill>
              </a:rPr>
              <a:t>PO + SM + Dev Team</a:t>
            </a:r>
          </a:p>
        </p:txBody>
      </p:sp>
      <p:sp>
        <p:nvSpPr>
          <p:cNvPr id="77" name="Rounded Rectangle 76"/>
          <p:cNvSpPr/>
          <p:nvPr/>
        </p:nvSpPr>
        <p:spPr>
          <a:xfrm>
            <a:off x="6851320" y="4564743"/>
            <a:ext cx="1308770" cy="428499"/>
          </a:xfrm>
          <a:prstGeom prst="round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2">
                    <a:lumMod val="50000"/>
                  </a:schemeClr>
                </a:solidFill>
              </a:rPr>
              <a:t>Sprint Review</a:t>
            </a:r>
          </a:p>
          <a:p>
            <a:pPr algn="ctr"/>
            <a:r>
              <a:rPr lang="en-US" sz="900" dirty="0">
                <a:solidFill>
                  <a:schemeClr val="tx2">
                    <a:lumMod val="50000"/>
                  </a:schemeClr>
                </a:solidFill>
              </a:rPr>
              <a:t>(PO + SM + </a:t>
            </a:r>
            <a:r>
              <a:rPr lang="en-US" sz="900" dirty="0" err="1">
                <a:solidFill>
                  <a:schemeClr val="tx2">
                    <a:lumMod val="50000"/>
                  </a:schemeClr>
                </a:solidFill>
              </a:rPr>
              <a:t>DevTeam</a:t>
            </a:r>
            <a:r>
              <a:rPr lang="en-US" sz="900" dirty="0">
                <a:solidFill>
                  <a:schemeClr val="tx2">
                    <a:lumMod val="50000"/>
                  </a:schemeClr>
                </a:solidFill>
              </a:rPr>
              <a:t>) + key Stakeholders</a:t>
            </a:r>
          </a:p>
        </p:txBody>
      </p:sp>
      <p:sp>
        <p:nvSpPr>
          <p:cNvPr id="78" name="Rounded Rectangle 77"/>
          <p:cNvSpPr/>
          <p:nvPr/>
        </p:nvSpPr>
        <p:spPr>
          <a:xfrm>
            <a:off x="6849739" y="5043715"/>
            <a:ext cx="1308770" cy="377372"/>
          </a:xfrm>
          <a:prstGeom prst="round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2">
                    <a:lumMod val="50000"/>
                  </a:schemeClr>
                </a:solidFill>
              </a:rPr>
              <a:t>Sprint Retrospection</a:t>
            </a:r>
          </a:p>
          <a:p>
            <a:pPr algn="ctr"/>
            <a:r>
              <a:rPr lang="en-US" sz="900" dirty="0">
                <a:solidFill>
                  <a:schemeClr val="tx2">
                    <a:lumMod val="50000"/>
                  </a:schemeClr>
                </a:solidFill>
              </a:rPr>
              <a:t>(PO + SM + </a:t>
            </a:r>
            <a:r>
              <a:rPr lang="en-US" sz="900" dirty="0" err="1">
                <a:solidFill>
                  <a:schemeClr val="tx2">
                    <a:lumMod val="50000"/>
                  </a:schemeClr>
                </a:solidFill>
              </a:rPr>
              <a:t>DevTeam</a:t>
            </a:r>
            <a:r>
              <a:rPr lang="en-US" sz="900" dirty="0">
                <a:solidFill>
                  <a:schemeClr val="tx2">
                    <a:lumMod val="50000"/>
                  </a:schemeClr>
                </a:solidFill>
              </a:rPr>
              <a:t>)</a:t>
            </a:r>
          </a:p>
        </p:txBody>
      </p:sp>
      <p:sp>
        <p:nvSpPr>
          <p:cNvPr id="79" name="Oval 78"/>
          <p:cNvSpPr/>
          <p:nvPr/>
        </p:nvSpPr>
        <p:spPr>
          <a:xfrm>
            <a:off x="2362200" y="4800600"/>
            <a:ext cx="1289802" cy="575353"/>
          </a:xfrm>
          <a:prstGeom prst="ellipse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2">
                    <a:lumMod val="50000"/>
                  </a:schemeClr>
                </a:solidFill>
              </a:rPr>
              <a:t>Backlog Refinement</a:t>
            </a:r>
          </a:p>
          <a:p>
            <a:pPr algn="ctr"/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PO + SM + Dev</a:t>
            </a:r>
            <a:endParaRPr lang="en-US" sz="800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0" name="Oval 79"/>
          <p:cNvSpPr/>
          <p:nvPr/>
        </p:nvSpPr>
        <p:spPr>
          <a:xfrm>
            <a:off x="5358369" y="2736598"/>
            <a:ext cx="1289802" cy="575353"/>
          </a:xfrm>
          <a:prstGeom prst="ellipse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2">
                    <a:lumMod val="50000"/>
                  </a:schemeClr>
                </a:solidFill>
              </a:rPr>
              <a:t>Backlog Refinement</a:t>
            </a:r>
          </a:p>
          <a:p>
            <a:pPr algn="ctr"/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PO + SM + Dev</a:t>
            </a:r>
            <a:endParaRPr lang="en-US" sz="800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489023" y="3773679"/>
            <a:ext cx="495717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9 am</a:t>
            </a:r>
          </a:p>
          <a:p>
            <a:endParaRPr lang="en-US" sz="800" dirty="0">
              <a:solidFill>
                <a:schemeClr val="tx2">
                  <a:lumMod val="50000"/>
                </a:schemeClr>
              </a:solidFill>
            </a:endParaRPr>
          </a:p>
          <a:p>
            <a:endParaRPr lang="en-US" sz="800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11 am</a:t>
            </a:r>
          </a:p>
          <a:p>
            <a:endParaRPr lang="en-US" sz="800" dirty="0">
              <a:solidFill>
                <a:schemeClr val="tx2">
                  <a:lumMod val="50000"/>
                </a:schemeClr>
              </a:solidFill>
            </a:endParaRPr>
          </a:p>
          <a:p>
            <a:endParaRPr lang="en-US" sz="800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1 pm</a:t>
            </a:r>
          </a:p>
          <a:p>
            <a:endParaRPr lang="en-US" sz="800" dirty="0">
              <a:solidFill>
                <a:schemeClr val="tx2">
                  <a:lumMod val="50000"/>
                </a:schemeClr>
              </a:solidFill>
            </a:endParaRPr>
          </a:p>
          <a:p>
            <a:endParaRPr lang="en-US" sz="800" dirty="0">
              <a:solidFill>
                <a:schemeClr val="tx2">
                  <a:lumMod val="50000"/>
                </a:schemeClr>
              </a:solidFill>
            </a:endParaRPr>
          </a:p>
          <a:p>
            <a:endParaRPr lang="en-US" sz="800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3 pm</a:t>
            </a:r>
          </a:p>
          <a:p>
            <a:endParaRPr lang="en-US" sz="800" dirty="0">
              <a:solidFill>
                <a:schemeClr val="tx2">
                  <a:lumMod val="50000"/>
                </a:schemeClr>
              </a:solidFill>
            </a:endParaRPr>
          </a:p>
          <a:p>
            <a:endParaRPr lang="en-US" sz="800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5 pm</a:t>
            </a:r>
          </a:p>
        </p:txBody>
      </p:sp>
      <p:sp>
        <p:nvSpPr>
          <p:cNvPr id="82" name="Oval 81"/>
          <p:cNvSpPr/>
          <p:nvPr/>
        </p:nvSpPr>
        <p:spPr>
          <a:xfrm>
            <a:off x="907288" y="4109914"/>
            <a:ext cx="1272414" cy="393267"/>
          </a:xfrm>
          <a:prstGeom prst="ellipse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Add on meetings </a:t>
            </a:r>
          </a:p>
          <a:p>
            <a:pPr algn="ctr"/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SM + Dev + PO</a:t>
            </a:r>
          </a:p>
        </p:txBody>
      </p:sp>
      <p:sp>
        <p:nvSpPr>
          <p:cNvPr id="83" name="Oval 82"/>
          <p:cNvSpPr/>
          <p:nvPr/>
        </p:nvSpPr>
        <p:spPr>
          <a:xfrm>
            <a:off x="2329863" y="4089366"/>
            <a:ext cx="1272414" cy="376687"/>
          </a:xfrm>
          <a:prstGeom prst="ellipse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Add on meetings </a:t>
            </a:r>
          </a:p>
          <a:p>
            <a:pPr algn="ctr"/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SM + Dev + PO</a:t>
            </a:r>
          </a:p>
        </p:txBody>
      </p:sp>
      <p:sp>
        <p:nvSpPr>
          <p:cNvPr id="84" name="Oval 83"/>
          <p:cNvSpPr/>
          <p:nvPr/>
        </p:nvSpPr>
        <p:spPr>
          <a:xfrm>
            <a:off x="3837794" y="4089366"/>
            <a:ext cx="1272414" cy="400280"/>
          </a:xfrm>
          <a:prstGeom prst="ellipse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Add on meetings </a:t>
            </a:r>
          </a:p>
          <a:p>
            <a:pPr algn="ctr"/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SM + Dev + PO</a:t>
            </a:r>
          </a:p>
        </p:txBody>
      </p:sp>
      <p:sp>
        <p:nvSpPr>
          <p:cNvPr id="85" name="Oval 84"/>
          <p:cNvSpPr/>
          <p:nvPr/>
        </p:nvSpPr>
        <p:spPr>
          <a:xfrm>
            <a:off x="5364691" y="4079092"/>
            <a:ext cx="1272414" cy="445645"/>
          </a:xfrm>
          <a:prstGeom prst="ellipse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Add on meetings </a:t>
            </a:r>
          </a:p>
          <a:p>
            <a:pPr algn="ctr"/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SM + Dev + PO</a:t>
            </a:r>
          </a:p>
        </p:txBody>
      </p:sp>
      <p:sp>
        <p:nvSpPr>
          <p:cNvPr id="86" name="Oval 85"/>
          <p:cNvSpPr/>
          <p:nvPr/>
        </p:nvSpPr>
        <p:spPr>
          <a:xfrm>
            <a:off x="3820407" y="1923229"/>
            <a:ext cx="1272414" cy="405830"/>
          </a:xfrm>
          <a:prstGeom prst="ellipse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Add on meetings </a:t>
            </a:r>
          </a:p>
          <a:p>
            <a:pPr algn="ctr"/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SM + Dev + PO</a:t>
            </a:r>
          </a:p>
        </p:txBody>
      </p:sp>
      <p:sp>
        <p:nvSpPr>
          <p:cNvPr id="87" name="Oval 86"/>
          <p:cNvSpPr/>
          <p:nvPr/>
        </p:nvSpPr>
        <p:spPr>
          <a:xfrm>
            <a:off x="5374176" y="1911243"/>
            <a:ext cx="1272414" cy="422055"/>
          </a:xfrm>
          <a:prstGeom prst="ellipse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Add on meetings </a:t>
            </a:r>
          </a:p>
          <a:p>
            <a:pPr algn="ctr"/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SM + Dev + PO</a:t>
            </a:r>
          </a:p>
        </p:txBody>
      </p:sp>
      <p:sp>
        <p:nvSpPr>
          <p:cNvPr id="88" name="Oval 87"/>
          <p:cNvSpPr/>
          <p:nvPr/>
        </p:nvSpPr>
        <p:spPr>
          <a:xfrm>
            <a:off x="6853654" y="1870146"/>
            <a:ext cx="1272414" cy="445743"/>
          </a:xfrm>
          <a:prstGeom prst="ellipse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Add on meetings </a:t>
            </a:r>
          </a:p>
          <a:p>
            <a:pPr algn="ctr"/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SM + Dev + PO</a:t>
            </a:r>
          </a:p>
        </p:txBody>
      </p:sp>
      <p:sp>
        <p:nvSpPr>
          <p:cNvPr id="89" name="Oval 88"/>
          <p:cNvSpPr/>
          <p:nvPr/>
        </p:nvSpPr>
        <p:spPr>
          <a:xfrm>
            <a:off x="2326584" y="1915975"/>
            <a:ext cx="1272414" cy="399914"/>
          </a:xfrm>
          <a:prstGeom prst="ellipse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Add on meetings </a:t>
            </a:r>
          </a:p>
          <a:p>
            <a:pPr algn="ctr"/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SM + Dev + PO</a:t>
            </a:r>
          </a:p>
        </p:txBody>
      </p:sp>
      <p:sp>
        <p:nvSpPr>
          <p:cNvPr id="90" name="TextBox 89"/>
          <p:cNvSpPr txBox="1"/>
          <p:nvPr/>
        </p:nvSpPr>
        <p:spPr>
          <a:xfrm rot="20864786">
            <a:off x="5228737" y="5732746"/>
            <a:ext cx="2253020" cy="756326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050" dirty="0">
                <a:solidFill>
                  <a:schemeClr val="tx2">
                    <a:lumMod val="50000"/>
                  </a:schemeClr>
                </a:solidFill>
              </a:rPr>
              <a:t>Timing of non ceremonial meetings (e.g. Backlog refinement meeting) may varies with Sprint / Team </a:t>
            </a:r>
          </a:p>
        </p:txBody>
      </p:sp>
      <p:sp>
        <p:nvSpPr>
          <p:cNvPr id="91" name="TextBox 90"/>
          <p:cNvSpPr txBox="1"/>
          <p:nvPr/>
        </p:nvSpPr>
        <p:spPr>
          <a:xfrm>
            <a:off x="753628" y="1045029"/>
            <a:ext cx="7882931" cy="307777"/>
          </a:xfrm>
          <a:prstGeom prst="rect">
            <a:avLst/>
          </a:prstGeom>
          <a:solidFill>
            <a:srgbClr val="004B66"/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Scrum Ceremonies and important meetings during one Sprint</a:t>
            </a:r>
          </a:p>
        </p:txBody>
      </p:sp>
    </p:spTree>
    <p:extLst>
      <p:ext uri="{BB962C8B-B14F-4D97-AF65-F5344CB8AC3E}">
        <p14:creationId xmlns:p14="http://schemas.microsoft.com/office/powerpoint/2010/main" val="178349896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49" name="AutoShape 1"/>
          <p:cNvSpPr>
            <a:spLocks/>
          </p:cNvSpPr>
          <p:nvPr/>
        </p:nvSpPr>
        <p:spPr bwMode="auto">
          <a:xfrm>
            <a:off x="2200386" y="326707"/>
            <a:ext cx="4583430" cy="6501765"/>
          </a:xfrm>
          <a:prstGeom prst="roundRect">
            <a:avLst>
              <a:gd name="adj" fmla="val 5981"/>
            </a:avLst>
          </a:prstGeom>
          <a:blipFill dpi="0" rotWithShape="0">
            <a:blip r:embed="rId3" cstate="print"/>
            <a:srcRect/>
            <a:tile tx="0" ty="0" sx="100000" sy="100000" flip="none" algn="tl"/>
          </a:blipFill>
          <a:ln w="25400">
            <a:solidFill>
              <a:srgbClr val="003C83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82296" tIns="41148" rIns="82296" bIns="41148"/>
          <a:lstStyle/>
          <a:p>
            <a:pPr>
              <a:defRPr/>
            </a:pPr>
            <a:endParaRPr lang="en-US">
              <a:latin typeface="Gill Sans" pitchFamily="80" charset="0"/>
              <a:ea typeface="ヒラギノ角ゴ Pro W3" pitchFamily="80" charset="-128"/>
              <a:sym typeface="Gill Sans" pitchFamily="80" charset="0"/>
            </a:endParaRPr>
          </a:p>
        </p:txBody>
      </p:sp>
      <p:sp>
        <p:nvSpPr>
          <p:cNvPr id="51202" name="Rectangle 2"/>
          <p:cNvSpPr>
            <a:spLocks/>
          </p:cNvSpPr>
          <p:nvPr/>
        </p:nvSpPr>
        <p:spPr bwMode="auto">
          <a:xfrm>
            <a:off x="2556584" y="417777"/>
            <a:ext cx="3143250" cy="810304"/>
          </a:xfrm>
          <a:prstGeom prst="rect">
            <a:avLst/>
          </a:prstGeom>
          <a:solidFill>
            <a:srgbClr val="003C83"/>
          </a:solidFill>
          <a:ln w="25400">
            <a:noFill/>
            <a:miter lim="800000"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51203" name="AutoShape 3"/>
          <p:cNvSpPr>
            <a:spLocks/>
          </p:cNvSpPr>
          <p:nvPr/>
        </p:nvSpPr>
        <p:spPr bwMode="auto">
          <a:xfrm>
            <a:off x="2193170" y="416719"/>
            <a:ext cx="445770" cy="411480"/>
          </a:xfrm>
          <a:custGeom>
            <a:avLst/>
            <a:gdLst>
              <a:gd name="T0" fmla="*/ 165592411 w 21600"/>
              <a:gd name="T1" fmla="*/ 616479 h 21600"/>
              <a:gd name="T2" fmla="*/ 168792 w 21600"/>
              <a:gd name="T3" fmla="*/ 133998399 h 21600"/>
              <a:gd name="T4" fmla="*/ 0 w 21600"/>
              <a:gd name="T5" fmla="*/ 204838300 h 21600"/>
              <a:gd name="T6" fmla="*/ 260433876 w 21600"/>
              <a:gd name="T7" fmla="*/ 204838300 h 21600"/>
              <a:gd name="T8" fmla="*/ 260433876 w 21600"/>
              <a:gd name="T9" fmla="*/ 0 h 21600"/>
              <a:gd name="T10" fmla="*/ 165592411 w 21600"/>
              <a:gd name="T11" fmla="*/ 616479 h 21600"/>
              <a:gd name="T12" fmla="*/ 165592411 w 21600"/>
              <a:gd name="T13" fmla="*/ 616479 h 21600"/>
              <a:gd name="T14" fmla="*/ 165592411 w 21600"/>
              <a:gd name="T15" fmla="*/ 616479 h 2160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21600" h="21600">
                <a:moveTo>
                  <a:pt x="13734" y="65"/>
                </a:moveTo>
                <a:cubicBezTo>
                  <a:pt x="4547" y="550"/>
                  <a:pt x="111" y="6203"/>
                  <a:pt x="14" y="14130"/>
                </a:cubicBezTo>
                <a:cubicBezTo>
                  <a:pt x="9" y="16620"/>
                  <a:pt x="5" y="19110"/>
                  <a:pt x="0" y="21600"/>
                </a:cubicBezTo>
                <a:cubicBezTo>
                  <a:pt x="7200" y="21600"/>
                  <a:pt x="14400" y="21600"/>
                  <a:pt x="21600" y="21600"/>
                </a:cubicBezTo>
                <a:cubicBezTo>
                  <a:pt x="21600" y="14400"/>
                  <a:pt x="21600" y="7200"/>
                  <a:pt x="21600" y="0"/>
                </a:cubicBezTo>
                <a:cubicBezTo>
                  <a:pt x="18978" y="22"/>
                  <a:pt x="16356" y="43"/>
                  <a:pt x="13734" y="65"/>
                </a:cubicBezTo>
                <a:cubicBezTo>
                  <a:pt x="13734" y="65"/>
                  <a:pt x="13734" y="65"/>
                  <a:pt x="13734" y="65"/>
                </a:cubicBezTo>
                <a:cubicBezTo>
                  <a:pt x="13734" y="65"/>
                  <a:pt x="13734" y="65"/>
                  <a:pt x="13734" y="65"/>
                </a:cubicBezTo>
              </a:path>
            </a:pathLst>
          </a:custGeom>
          <a:solidFill>
            <a:srgbClr val="003C83"/>
          </a:solidFill>
          <a:ln w="25400">
            <a:noFill/>
            <a:miter lim="800000"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51204" name="Rectangle 4"/>
          <p:cNvSpPr>
            <a:spLocks/>
          </p:cNvSpPr>
          <p:nvPr/>
        </p:nvSpPr>
        <p:spPr bwMode="auto">
          <a:xfrm>
            <a:off x="2200386" y="812244"/>
            <a:ext cx="560070" cy="409133"/>
          </a:xfrm>
          <a:prstGeom prst="rect">
            <a:avLst/>
          </a:prstGeom>
          <a:solidFill>
            <a:srgbClr val="003C83"/>
          </a:solidFill>
          <a:ln w="25400">
            <a:noFill/>
            <a:miter lim="800000"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grpSp>
        <p:nvGrpSpPr>
          <p:cNvPr id="2" name="Group 5"/>
          <p:cNvGrpSpPr>
            <a:grpSpLocks/>
          </p:cNvGrpSpPr>
          <p:nvPr/>
        </p:nvGrpSpPr>
        <p:grpSpPr bwMode="auto">
          <a:xfrm>
            <a:off x="5585534" y="417777"/>
            <a:ext cx="560070" cy="810304"/>
            <a:chOff x="0" y="0"/>
            <a:chExt cx="392" cy="376"/>
          </a:xfrm>
        </p:grpSpPr>
        <p:sp>
          <p:nvSpPr>
            <p:cNvPr id="51237" name="AutoShape 6"/>
            <p:cNvSpPr>
              <a:spLocks/>
            </p:cNvSpPr>
            <p:nvPr/>
          </p:nvSpPr>
          <p:spPr bwMode="auto">
            <a:xfrm rot="10800000">
              <a:off x="80" y="88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1238" name="Rectangle 7"/>
            <p:cNvSpPr>
              <a:spLocks/>
            </p:cNvSpPr>
            <p:nvPr/>
          </p:nvSpPr>
          <p:spPr bwMode="auto">
            <a:xfrm>
              <a:off x="0" y="0"/>
              <a:ext cx="392" cy="160"/>
            </a:xfrm>
            <a:prstGeom prst="rect">
              <a:avLst/>
            </a:pr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51206" name="Rectangle 8"/>
          <p:cNvSpPr>
            <a:spLocks/>
          </p:cNvSpPr>
          <p:nvPr/>
        </p:nvSpPr>
        <p:spPr bwMode="auto">
          <a:xfrm>
            <a:off x="2404257" y="360626"/>
            <a:ext cx="3817620" cy="7778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720" tIns="45720" rIns="45720" bIns="45720"/>
          <a:lstStyle/>
          <a:p>
            <a:pPr>
              <a:tabLst>
                <a:tab pos="960120" algn="l"/>
              </a:tabLst>
            </a:pPr>
            <a:r>
              <a:rPr lang="en-US" sz="2500" dirty="0">
                <a:solidFill>
                  <a:srgbClr val="FFFFFF"/>
                </a:solidFill>
              </a:rPr>
              <a:t>Sprint planning meeting</a:t>
            </a:r>
          </a:p>
        </p:txBody>
      </p:sp>
      <p:grpSp>
        <p:nvGrpSpPr>
          <p:cNvPr id="3" name="Group 9"/>
          <p:cNvGrpSpPr>
            <a:grpSpLocks/>
          </p:cNvGrpSpPr>
          <p:nvPr/>
        </p:nvGrpSpPr>
        <p:grpSpPr bwMode="auto">
          <a:xfrm>
            <a:off x="2245884" y="1307355"/>
            <a:ext cx="4537932" cy="1995712"/>
            <a:chOff x="0" y="0"/>
            <a:chExt cx="2936" cy="1176"/>
          </a:xfrm>
        </p:grpSpPr>
        <p:sp>
          <p:nvSpPr>
            <p:cNvPr id="27658" name="AutoShape 10"/>
            <p:cNvSpPr>
              <a:spLocks/>
            </p:cNvSpPr>
            <p:nvPr/>
          </p:nvSpPr>
          <p:spPr bwMode="auto">
            <a:xfrm>
              <a:off x="0" y="0"/>
              <a:ext cx="2936" cy="1176"/>
            </a:xfrm>
            <a:prstGeom prst="roundRect">
              <a:avLst>
                <a:gd name="adj" fmla="val 16324"/>
              </a:avLst>
            </a:prstGeom>
            <a:blipFill dpi="0" rotWithShape="0">
              <a:blip r:embed="rId4" cstate="print"/>
              <a:srcRect/>
              <a:tile tx="0" ty="0" sx="100000" sy="100000" flip="none" algn="tl"/>
            </a:blipFill>
            <a:ln w="25400">
              <a:solidFill>
                <a:srgbClr val="00531C"/>
              </a:solidFill>
              <a:round/>
              <a:headEnd/>
              <a:tailEnd/>
            </a:ln>
            <a:effectLst>
              <a:outerShdw dist="63500" dir="2700000" algn="ctr" rotWithShape="0">
                <a:schemeClr val="bg2">
                  <a:alpha val="29999"/>
                </a:scheme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>
                <a:latin typeface="Gill Sans" pitchFamily="80" charset="0"/>
                <a:ea typeface="ヒラギノ角ゴ Pro W3" pitchFamily="80" charset="-128"/>
                <a:sym typeface="Gill Sans" pitchFamily="80" charset="0"/>
              </a:endParaRPr>
            </a:p>
          </p:txBody>
        </p:sp>
        <p:sp>
          <p:nvSpPr>
            <p:cNvPr id="51232" name="Rectangle 11"/>
            <p:cNvSpPr>
              <a:spLocks/>
            </p:cNvSpPr>
            <p:nvPr/>
          </p:nvSpPr>
          <p:spPr bwMode="auto">
            <a:xfrm>
              <a:off x="304" y="0"/>
              <a:ext cx="1432" cy="288"/>
            </a:xfrm>
            <a:prstGeom prst="rect">
              <a:avLst/>
            </a:prstGeom>
            <a:solidFill>
              <a:srgbClr val="00531C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1233" name="AutoShape 12"/>
            <p:cNvSpPr>
              <a:spLocks/>
            </p:cNvSpPr>
            <p:nvPr/>
          </p:nvSpPr>
          <p:spPr bwMode="auto">
            <a:xfrm rot="10800000">
              <a:off x="1656" y="0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00531C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1234" name="AutoShape 13"/>
            <p:cNvSpPr>
              <a:spLocks/>
            </p:cNvSpPr>
            <p:nvPr/>
          </p:nvSpPr>
          <p:spPr bwMode="auto">
            <a:xfrm>
              <a:off x="0" y="0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00531C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1235" name="Rectangle 14"/>
            <p:cNvSpPr>
              <a:spLocks/>
            </p:cNvSpPr>
            <p:nvPr/>
          </p:nvSpPr>
          <p:spPr bwMode="auto">
            <a:xfrm>
              <a:off x="104" y="0"/>
              <a:ext cx="1864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tabLst>
                  <a:tab pos="960120" algn="l"/>
                </a:tabLst>
              </a:pPr>
              <a:r>
                <a:rPr lang="en-US" sz="2200" dirty="0">
                  <a:solidFill>
                    <a:srgbClr val="FFFFFF"/>
                  </a:solidFill>
                </a:rPr>
                <a:t>Sprint prioritization</a:t>
              </a:r>
            </a:p>
          </p:txBody>
        </p:sp>
        <p:sp>
          <p:nvSpPr>
            <p:cNvPr id="51236" name="Rectangle 15"/>
            <p:cNvSpPr>
              <a:spLocks/>
            </p:cNvSpPr>
            <p:nvPr/>
          </p:nvSpPr>
          <p:spPr bwMode="auto">
            <a:xfrm>
              <a:off x="40" y="336"/>
              <a:ext cx="2720" cy="7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 marL="252889" indent="-252889"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100" dirty="0">
                  <a:solidFill>
                    <a:srgbClr val="FFFFFF"/>
                  </a:solidFill>
                </a:rPr>
                <a:t>Analyze and evaluate product backlog</a:t>
              </a:r>
            </a:p>
            <a:p>
              <a:pPr marL="252889" indent="-252889"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100" dirty="0">
                  <a:solidFill>
                    <a:srgbClr val="FFFFFF"/>
                  </a:solidFill>
                </a:rPr>
                <a:t>Select sprint goal</a:t>
              </a:r>
            </a:p>
          </p:txBody>
        </p:sp>
      </p:grpSp>
      <p:grpSp>
        <p:nvGrpSpPr>
          <p:cNvPr id="4" name="Group 16"/>
          <p:cNvGrpSpPr>
            <a:grpSpLocks/>
          </p:cNvGrpSpPr>
          <p:nvPr/>
        </p:nvGrpSpPr>
        <p:grpSpPr bwMode="auto">
          <a:xfrm>
            <a:off x="2430304" y="3371850"/>
            <a:ext cx="4210526" cy="3257548"/>
            <a:chOff x="-11" y="0"/>
            <a:chExt cx="2947" cy="2017"/>
          </a:xfrm>
        </p:grpSpPr>
        <p:sp>
          <p:nvSpPr>
            <p:cNvPr id="27665" name="AutoShape 17"/>
            <p:cNvSpPr>
              <a:spLocks/>
            </p:cNvSpPr>
            <p:nvPr/>
          </p:nvSpPr>
          <p:spPr bwMode="auto">
            <a:xfrm>
              <a:off x="-11" y="169"/>
              <a:ext cx="2936" cy="1848"/>
            </a:xfrm>
            <a:prstGeom prst="roundRect">
              <a:avLst>
                <a:gd name="adj" fmla="val 10389"/>
              </a:avLst>
            </a:prstGeom>
            <a:blipFill dpi="0" rotWithShape="0">
              <a:blip r:embed="rId4" cstate="print"/>
              <a:srcRect/>
              <a:tile tx="0" ty="0" sx="100000" sy="100000" flip="none" algn="tl"/>
            </a:blipFill>
            <a:ln w="25400">
              <a:solidFill>
                <a:srgbClr val="00531C"/>
              </a:solidFill>
              <a:round/>
              <a:headEnd/>
              <a:tailEnd/>
            </a:ln>
            <a:effectLst>
              <a:outerShdw dist="63500" dir="2700000" algn="ctr" rotWithShape="0">
                <a:schemeClr val="bg2">
                  <a:alpha val="29999"/>
                </a:scheme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>
                <a:latin typeface="Gill Sans" pitchFamily="80" charset="0"/>
                <a:ea typeface="ヒラギノ角ゴ Pro W3" pitchFamily="80" charset="-128"/>
                <a:sym typeface="Gill Sans" pitchFamily="80" charset="0"/>
              </a:endParaRPr>
            </a:p>
          </p:txBody>
        </p:sp>
        <p:sp>
          <p:nvSpPr>
            <p:cNvPr id="51226" name="Rectangle 18"/>
            <p:cNvSpPr>
              <a:spLocks/>
            </p:cNvSpPr>
            <p:nvPr/>
          </p:nvSpPr>
          <p:spPr bwMode="auto">
            <a:xfrm>
              <a:off x="304" y="0"/>
              <a:ext cx="1432" cy="288"/>
            </a:xfrm>
            <a:prstGeom prst="rect">
              <a:avLst/>
            </a:prstGeom>
            <a:solidFill>
              <a:srgbClr val="00531C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1227" name="AutoShape 19"/>
            <p:cNvSpPr>
              <a:spLocks/>
            </p:cNvSpPr>
            <p:nvPr/>
          </p:nvSpPr>
          <p:spPr bwMode="auto">
            <a:xfrm rot="10800000">
              <a:off x="1656" y="0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00531C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1228" name="AutoShape 20"/>
            <p:cNvSpPr>
              <a:spLocks/>
            </p:cNvSpPr>
            <p:nvPr/>
          </p:nvSpPr>
          <p:spPr bwMode="auto">
            <a:xfrm>
              <a:off x="0" y="0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00531C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1229" name="Rectangle 21"/>
            <p:cNvSpPr>
              <a:spLocks/>
            </p:cNvSpPr>
            <p:nvPr/>
          </p:nvSpPr>
          <p:spPr bwMode="auto">
            <a:xfrm>
              <a:off x="104" y="0"/>
              <a:ext cx="1608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tabLst>
                  <a:tab pos="960120" algn="l"/>
                </a:tabLst>
              </a:pPr>
              <a:r>
                <a:rPr lang="en-US" sz="2200" dirty="0">
                  <a:solidFill>
                    <a:srgbClr val="FFFFFF"/>
                  </a:solidFill>
                </a:rPr>
                <a:t>Sprint planning</a:t>
              </a:r>
            </a:p>
          </p:txBody>
        </p:sp>
        <p:sp>
          <p:nvSpPr>
            <p:cNvPr id="51230" name="Rectangle 22"/>
            <p:cNvSpPr>
              <a:spLocks/>
            </p:cNvSpPr>
            <p:nvPr/>
          </p:nvSpPr>
          <p:spPr bwMode="auto">
            <a:xfrm>
              <a:off x="40" y="336"/>
              <a:ext cx="2896" cy="14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 marL="252889" indent="-252889"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100" dirty="0">
                  <a:solidFill>
                    <a:srgbClr val="FFFFFF"/>
                  </a:solidFill>
                </a:rPr>
                <a:t>Decide how to achieve sprint goal (design)</a:t>
              </a:r>
            </a:p>
            <a:p>
              <a:pPr marL="252889" indent="-252889"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100" dirty="0">
                  <a:solidFill>
                    <a:srgbClr val="FFFFFF"/>
                  </a:solidFill>
                </a:rPr>
                <a:t>Create sprint backlog (tasks) from product backlog items (user stories / features)</a:t>
              </a:r>
            </a:p>
            <a:p>
              <a:pPr marL="252889" indent="-252889"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100" dirty="0">
                  <a:solidFill>
                    <a:srgbClr val="FFFFFF"/>
                  </a:solidFill>
                </a:rPr>
                <a:t>Estimate sprint backlog in hours</a:t>
              </a:r>
            </a:p>
          </p:txBody>
        </p:sp>
      </p:grpSp>
      <p:grpSp>
        <p:nvGrpSpPr>
          <p:cNvPr id="5" name="Group 23"/>
          <p:cNvGrpSpPr>
            <a:grpSpLocks/>
          </p:cNvGrpSpPr>
          <p:nvPr/>
        </p:nvGrpSpPr>
        <p:grpSpPr bwMode="auto">
          <a:xfrm>
            <a:off x="6640830" y="1851660"/>
            <a:ext cx="2274570" cy="1040130"/>
            <a:chOff x="0" y="0"/>
            <a:chExt cx="1592" cy="728"/>
          </a:xfrm>
        </p:grpSpPr>
        <p:sp>
          <p:nvSpPr>
            <p:cNvPr id="51223" name="Line 24"/>
            <p:cNvSpPr>
              <a:spLocks noChangeShapeType="1"/>
            </p:cNvSpPr>
            <p:nvPr/>
          </p:nvSpPr>
          <p:spPr bwMode="auto">
            <a:xfrm flipH="1">
              <a:off x="0" y="363"/>
              <a:ext cx="520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stealth" w="med" len="med"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673" name="AutoShape 25"/>
            <p:cNvSpPr>
              <a:spLocks/>
            </p:cNvSpPr>
            <p:nvPr/>
          </p:nvSpPr>
          <p:spPr bwMode="auto">
            <a:xfrm>
              <a:off x="528" y="0"/>
              <a:ext cx="1064" cy="728"/>
            </a:xfrm>
            <a:prstGeom prst="roundRect">
              <a:avLst>
                <a:gd name="adj" fmla="val 26370"/>
              </a:avLst>
            </a:prstGeom>
            <a:blipFill dpi="0" rotWithShape="0">
              <a:blip r:embed="rId5" cstate="print"/>
              <a:srcRect/>
              <a:tile tx="0" ty="0" sx="100000" sy="100000" flip="none" algn="tl"/>
            </a:blipFill>
            <a:ln w="25400">
              <a:solidFill>
                <a:srgbClr val="910000"/>
              </a:solidFill>
              <a:round/>
              <a:headEnd/>
              <a:tailEnd/>
            </a:ln>
            <a:effectLst>
              <a:outerShdw dist="63500" dir="2700000" algn="ctr" rotWithShape="0">
                <a:schemeClr val="bg2">
                  <a:alpha val="29999"/>
                </a:schemeClr>
              </a:outerShdw>
            </a:effectLst>
          </p:spPr>
          <p:txBody>
            <a:bodyPr lIns="0" tIns="0" rIns="0" bIns="0" anchor="ctr"/>
            <a:lstStyle/>
            <a:p>
              <a:pPr>
                <a:tabLst>
                  <a:tab pos="960120" algn="l"/>
                </a:tabLst>
                <a:defRPr/>
              </a:pPr>
              <a:r>
                <a:rPr lang="en-US" dirty="0">
                  <a:solidFill>
                    <a:srgbClr val="E3F0FF"/>
                  </a:solidFill>
                  <a:latin typeface="Gill Sans" pitchFamily="80" charset="0"/>
                  <a:ea typeface="Gill Sans" pitchFamily="80" charset="0"/>
                  <a:cs typeface="Gill Sans" pitchFamily="80" charset="0"/>
                  <a:sym typeface="Gill Sans" pitchFamily="80" charset="0"/>
                </a:rPr>
                <a:t>Sprint</a:t>
              </a:r>
            </a:p>
            <a:p>
              <a:pPr>
                <a:tabLst>
                  <a:tab pos="960120" algn="l"/>
                </a:tabLst>
                <a:defRPr/>
              </a:pPr>
              <a:r>
                <a:rPr lang="en-US" dirty="0">
                  <a:solidFill>
                    <a:srgbClr val="E3F0FF"/>
                  </a:solidFill>
                  <a:latin typeface="Gill Sans" pitchFamily="80" charset="0"/>
                  <a:ea typeface="Gill Sans" pitchFamily="80" charset="0"/>
                  <a:cs typeface="Gill Sans" pitchFamily="80" charset="0"/>
                  <a:sym typeface="Gill Sans" pitchFamily="80" charset="0"/>
                </a:rPr>
                <a:t>goal</a:t>
              </a:r>
            </a:p>
          </p:txBody>
        </p:sp>
      </p:grpSp>
      <p:sp>
        <p:nvSpPr>
          <p:cNvPr id="51210" name="Line 26"/>
          <p:cNvSpPr>
            <a:spLocks noChangeShapeType="1"/>
          </p:cNvSpPr>
          <p:nvPr/>
        </p:nvSpPr>
        <p:spPr bwMode="auto">
          <a:xfrm flipH="1">
            <a:off x="1628775" y="1350169"/>
            <a:ext cx="588645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 type="stealth" w="med" len="med"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grpSp>
        <p:nvGrpSpPr>
          <p:cNvPr id="6" name="Group 27"/>
          <p:cNvGrpSpPr>
            <a:grpSpLocks/>
          </p:cNvGrpSpPr>
          <p:nvPr/>
        </p:nvGrpSpPr>
        <p:grpSpPr bwMode="auto">
          <a:xfrm>
            <a:off x="6640830" y="4160520"/>
            <a:ext cx="2274570" cy="1040130"/>
            <a:chOff x="0" y="0"/>
            <a:chExt cx="1592" cy="728"/>
          </a:xfrm>
        </p:grpSpPr>
        <p:sp>
          <p:nvSpPr>
            <p:cNvPr id="27676" name="AutoShape 28"/>
            <p:cNvSpPr>
              <a:spLocks/>
            </p:cNvSpPr>
            <p:nvPr/>
          </p:nvSpPr>
          <p:spPr bwMode="auto">
            <a:xfrm>
              <a:off x="528" y="0"/>
              <a:ext cx="1064" cy="728"/>
            </a:xfrm>
            <a:prstGeom prst="roundRect">
              <a:avLst>
                <a:gd name="adj" fmla="val 26370"/>
              </a:avLst>
            </a:prstGeom>
            <a:blipFill dpi="0" rotWithShape="0">
              <a:blip r:embed="rId5" cstate="print"/>
              <a:srcRect/>
              <a:tile tx="0" ty="0" sx="100000" sy="100000" flip="none" algn="tl"/>
            </a:blipFill>
            <a:ln w="25400">
              <a:solidFill>
                <a:srgbClr val="910000"/>
              </a:solidFill>
              <a:round/>
              <a:headEnd/>
              <a:tailEnd/>
            </a:ln>
            <a:effectLst>
              <a:outerShdw dist="63500" dir="2700000" algn="ctr" rotWithShape="0">
                <a:schemeClr val="bg2">
                  <a:alpha val="29999"/>
                </a:schemeClr>
              </a:outerShdw>
            </a:effectLst>
          </p:spPr>
          <p:txBody>
            <a:bodyPr lIns="0" tIns="0" rIns="0" bIns="0" anchor="ctr"/>
            <a:lstStyle/>
            <a:p>
              <a:pPr>
                <a:tabLst>
                  <a:tab pos="960120" algn="l"/>
                </a:tabLst>
                <a:defRPr/>
              </a:pPr>
              <a:r>
                <a:rPr lang="en-US" dirty="0">
                  <a:solidFill>
                    <a:srgbClr val="E3F0FF"/>
                  </a:solidFill>
                  <a:latin typeface="Gill Sans" pitchFamily="80" charset="0"/>
                  <a:ea typeface="Gill Sans" pitchFamily="80" charset="0"/>
                  <a:cs typeface="Gill Sans" pitchFamily="80" charset="0"/>
                  <a:sym typeface="Gill Sans" pitchFamily="80" charset="0"/>
                </a:rPr>
                <a:t>Sprint</a:t>
              </a:r>
            </a:p>
            <a:p>
              <a:pPr>
                <a:tabLst>
                  <a:tab pos="960120" algn="l"/>
                </a:tabLst>
                <a:defRPr/>
              </a:pPr>
              <a:r>
                <a:rPr lang="en-US" dirty="0">
                  <a:solidFill>
                    <a:srgbClr val="E3F0FF"/>
                  </a:solidFill>
                  <a:latin typeface="Gill Sans" pitchFamily="80" charset="0"/>
                  <a:ea typeface="Gill Sans" pitchFamily="80" charset="0"/>
                  <a:cs typeface="Gill Sans" pitchFamily="80" charset="0"/>
                  <a:sym typeface="Gill Sans" pitchFamily="80" charset="0"/>
                </a:rPr>
                <a:t>backlog</a:t>
              </a:r>
            </a:p>
          </p:txBody>
        </p:sp>
        <p:sp>
          <p:nvSpPr>
            <p:cNvPr id="51222" name="Line 29"/>
            <p:cNvSpPr>
              <a:spLocks noChangeShapeType="1"/>
            </p:cNvSpPr>
            <p:nvPr/>
          </p:nvSpPr>
          <p:spPr bwMode="auto">
            <a:xfrm flipH="1">
              <a:off x="0" y="363"/>
              <a:ext cx="520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stealth" w="med" len="med"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7678" name="AutoShape 30"/>
          <p:cNvSpPr>
            <a:spLocks/>
          </p:cNvSpPr>
          <p:nvPr/>
        </p:nvSpPr>
        <p:spPr bwMode="auto">
          <a:xfrm>
            <a:off x="262890" y="3074670"/>
            <a:ext cx="1371600" cy="914400"/>
          </a:xfrm>
          <a:prstGeom prst="roundRect">
            <a:avLst>
              <a:gd name="adj" fmla="val 30000"/>
            </a:avLst>
          </a:prstGeom>
          <a:blipFill dpi="0" rotWithShape="0">
            <a:blip r:embed="rId6" cstate="print"/>
            <a:srcRect/>
            <a:tile tx="0" ty="0" sx="100000" sy="100000" flip="none" algn="tl"/>
          </a:blipFill>
          <a:ln w="25400">
            <a:solidFill>
              <a:srgbClr val="750083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0" tIns="0" rIns="0" bIns="0" anchor="ctr"/>
          <a:lstStyle/>
          <a:p>
            <a:pPr>
              <a:tabLst>
                <a:tab pos="960120" algn="l"/>
              </a:tabLst>
              <a:defRPr/>
            </a:pPr>
            <a:r>
              <a:rPr lang="en-US" dirty="0">
                <a:solidFill>
                  <a:srgbClr val="E3F0FF"/>
                </a:solidFill>
                <a:latin typeface="Gill Sans" pitchFamily="80" charset="0"/>
                <a:ea typeface="Gill Sans" pitchFamily="80" charset="0"/>
                <a:cs typeface="Gill Sans" pitchFamily="80" charset="0"/>
                <a:sym typeface="Gill Sans" pitchFamily="80" charset="0"/>
              </a:rPr>
              <a:t>Business conditions</a:t>
            </a:r>
          </a:p>
        </p:txBody>
      </p:sp>
      <p:sp>
        <p:nvSpPr>
          <p:cNvPr id="27679" name="AutoShape 31"/>
          <p:cNvSpPr>
            <a:spLocks/>
          </p:cNvSpPr>
          <p:nvPr/>
        </p:nvSpPr>
        <p:spPr bwMode="auto">
          <a:xfrm>
            <a:off x="262890" y="902970"/>
            <a:ext cx="1371600" cy="914400"/>
          </a:xfrm>
          <a:prstGeom prst="roundRect">
            <a:avLst>
              <a:gd name="adj" fmla="val 30000"/>
            </a:avLst>
          </a:prstGeom>
          <a:blipFill dpi="0" rotWithShape="0">
            <a:blip r:embed="rId6" cstate="print"/>
            <a:srcRect/>
            <a:tile tx="0" ty="0" sx="100000" sy="100000" flip="none" algn="tl"/>
          </a:blipFill>
          <a:ln w="25400">
            <a:solidFill>
              <a:srgbClr val="750083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0" tIns="0" rIns="0" bIns="0" anchor="ctr"/>
          <a:lstStyle/>
          <a:p>
            <a:pPr>
              <a:tabLst>
                <a:tab pos="960120" algn="l"/>
              </a:tabLst>
              <a:defRPr/>
            </a:pPr>
            <a:r>
              <a:rPr lang="en-US" dirty="0">
                <a:solidFill>
                  <a:srgbClr val="E3F0FF"/>
                </a:solidFill>
                <a:latin typeface="Gill Sans" pitchFamily="80" charset="0"/>
                <a:ea typeface="Gill Sans" pitchFamily="80" charset="0"/>
                <a:cs typeface="Gill Sans" pitchFamily="80" charset="0"/>
                <a:sym typeface="Gill Sans" pitchFamily="80" charset="0"/>
              </a:rPr>
              <a:t>Team capacity</a:t>
            </a:r>
          </a:p>
        </p:txBody>
      </p:sp>
      <p:sp>
        <p:nvSpPr>
          <p:cNvPr id="27680" name="AutoShape 32"/>
          <p:cNvSpPr>
            <a:spLocks/>
          </p:cNvSpPr>
          <p:nvPr/>
        </p:nvSpPr>
        <p:spPr bwMode="auto">
          <a:xfrm>
            <a:off x="262890" y="1988820"/>
            <a:ext cx="1371600" cy="914400"/>
          </a:xfrm>
          <a:prstGeom prst="roundRect">
            <a:avLst>
              <a:gd name="adj" fmla="val 30000"/>
            </a:avLst>
          </a:prstGeom>
          <a:blipFill dpi="0" rotWithShape="0">
            <a:blip r:embed="rId6" cstate="print"/>
            <a:srcRect/>
            <a:tile tx="0" ty="0" sx="100000" sy="100000" flip="none" algn="tl"/>
          </a:blipFill>
          <a:ln w="25400">
            <a:solidFill>
              <a:srgbClr val="750083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0" tIns="0" rIns="0" bIns="0" anchor="ctr"/>
          <a:lstStyle/>
          <a:p>
            <a:pPr>
              <a:tabLst>
                <a:tab pos="960120" algn="l"/>
              </a:tabLst>
              <a:defRPr/>
            </a:pPr>
            <a:r>
              <a:rPr lang="en-US" dirty="0">
                <a:solidFill>
                  <a:srgbClr val="E3F0FF"/>
                </a:solidFill>
                <a:latin typeface="Gill Sans" pitchFamily="80" charset="0"/>
                <a:ea typeface="Gill Sans" pitchFamily="80" charset="0"/>
                <a:cs typeface="Gill Sans" pitchFamily="80" charset="0"/>
                <a:sym typeface="Gill Sans" pitchFamily="80" charset="0"/>
              </a:rPr>
              <a:t>Product backlog</a:t>
            </a:r>
          </a:p>
        </p:txBody>
      </p:sp>
      <p:sp>
        <p:nvSpPr>
          <p:cNvPr id="27681" name="AutoShape 33"/>
          <p:cNvSpPr>
            <a:spLocks/>
          </p:cNvSpPr>
          <p:nvPr/>
        </p:nvSpPr>
        <p:spPr bwMode="auto">
          <a:xfrm>
            <a:off x="262890" y="5246370"/>
            <a:ext cx="1371600" cy="914400"/>
          </a:xfrm>
          <a:prstGeom prst="roundRect">
            <a:avLst>
              <a:gd name="adj" fmla="val 30000"/>
            </a:avLst>
          </a:prstGeom>
          <a:blipFill dpi="0" rotWithShape="0">
            <a:blip r:embed="rId6" cstate="print"/>
            <a:srcRect/>
            <a:tile tx="0" ty="0" sx="100000" sy="100000" flip="none" algn="tl"/>
          </a:blipFill>
          <a:ln w="25400">
            <a:solidFill>
              <a:srgbClr val="750083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0" tIns="0" rIns="0" bIns="0" anchor="ctr"/>
          <a:lstStyle/>
          <a:p>
            <a:pPr>
              <a:tabLst>
                <a:tab pos="960120" algn="l"/>
              </a:tabLst>
              <a:defRPr/>
            </a:pPr>
            <a:r>
              <a:rPr lang="en-US" dirty="0">
                <a:solidFill>
                  <a:srgbClr val="E3F0FF"/>
                </a:solidFill>
                <a:latin typeface="Gill Sans" pitchFamily="80" charset="0"/>
                <a:ea typeface="Gill Sans" pitchFamily="80" charset="0"/>
                <a:cs typeface="Gill Sans" pitchFamily="80" charset="0"/>
                <a:sym typeface="Gill Sans" pitchFamily="80" charset="0"/>
              </a:rPr>
              <a:t>Technology</a:t>
            </a:r>
          </a:p>
        </p:txBody>
      </p:sp>
      <p:sp>
        <p:nvSpPr>
          <p:cNvPr id="27682" name="AutoShape 34"/>
          <p:cNvSpPr>
            <a:spLocks/>
          </p:cNvSpPr>
          <p:nvPr/>
        </p:nvSpPr>
        <p:spPr bwMode="auto">
          <a:xfrm>
            <a:off x="262890" y="4160520"/>
            <a:ext cx="1371600" cy="914400"/>
          </a:xfrm>
          <a:prstGeom prst="roundRect">
            <a:avLst>
              <a:gd name="adj" fmla="val 30000"/>
            </a:avLst>
          </a:prstGeom>
          <a:blipFill dpi="0" rotWithShape="0">
            <a:blip r:embed="rId6" cstate="print"/>
            <a:srcRect/>
            <a:tile tx="0" ty="0" sx="100000" sy="100000" flip="none" algn="tl"/>
          </a:blipFill>
          <a:ln w="25400">
            <a:solidFill>
              <a:srgbClr val="750083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0" tIns="0" rIns="0" bIns="0" anchor="ctr"/>
          <a:lstStyle/>
          <a:p>
            <a:pPr>
              <a:tabLst>
                <a:tab pos="960120" algn="l"/>
              </a:tabLst>
              <a:defRPr/>
            </a:pPr>
            <a:r>
              <a:rPr lang="en-US" dirty="0">
                <a:solidFill>
                  <a:srgbClr val="E3F0FF"/>
                </a:solidFill>
                <a:latin typeface="Gill Sans" pitchFamily="80" charset="0"/>
                <a:ea typeface="Gill Sans" pitchFamily="80" charset="0"/>
                <a:cs typeface="Gill Sans" pitchFamily="80" charset="0"/>
                <a:sym typeface="Gill Sans" pitchFamily="80" charset="0"/>
              </a:rPr>
              <a:t>Current product</a:t>
            </a:r>
          </a:p>
        </p:txBody>
      </p:sp>
      <p:sp>
        <p:nvSpPr>
          <p:cNvPr id="51217" name="Line 35"/>
          <p:cNvSpPr>
            <a:spLocks noChangeShapeType="1"/>
          </p:cNvSpPr>
          <p:nvPr/>
        </p:nvSpPr>
        <p:spPr bwMode="auto">
          <a:xfrm flipH="1">
            <a:off x="1628775" y="2436019"/>
            <a:ext cx="588645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 type="stealth" w="med" len="med"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51218" name="Line 36"/>
          <p:cNvSpPr>
            <a:spLocks noChangeShapeType="1"/>
          </p:cNvSpPr>
          <p:nvPr/>
        </p:nvSpPr>
        <p:spPr bwMode="auto">
          <a:xfrm flipH="1">
            <a:off x="1628775" y="3521869"/>
            <a:ext cx="588645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 type="stealth" w="med" len="med"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51219" name="Line 37"/>
          <p:cNvSpPr>
            <a:spLocks noChangeShapeType="1"/>
          </p:cNvSpPr>
          <p:nvPr/>
        </p:nvSpPr>
        <p:spPr bwMode="auto">
          <a:xfrm flipH="1">
            <a:off x="1628775" y="4607719"/>
            <a:ext cx="588645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 type="stealth" w="med" len="med"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51220" name="Line 38"/>
          <p:cNvSpPr>
            <a:spLocks noChangeShapeType="1"/>
          </p:cNvSpPr>
          <p:nvPr/>
        </p:nvSpPr>
        <p:spPr bwMode="auto">
          <a:xfrm flipH="1">
            <a:off x="1628775" y="5693569"/>
            <a:ext cx="588645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 type="stealth" w="med" len="med"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</p:spTree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 nodeType="clickPar">
                      <p:stCondLst>
                        <p:cond delay="indefinite"/>
                      </p:stCondLst>
                      <p:childTnLst>
                        <p:par>
                          <p:cTn id="1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1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 eaLnBrk="1" hangingPunct="1">
              <a:defRPr/>
            </a:pPr>
            <a:r>
              <a:rPr lang="en-US" sz="2800" dirty="0">
                <a:sym typeface="Gill Sans" charset="0"/>
              </a:rPr>
              <a:t>Sprint planning</a:t>
            </a:r>
          </a:p>
        </p:txBody>
      </p:sp>
      <p:sp>
        <p:nvSpPr>
          <p:cNvPr id="28675" name="Rectangle 2"/>
          <p:cNvSpPr>
            <a:spLocks noGrp="1" noChangeArrowheads="1"/>
          </p:cNvSpPr>
          <p:nvPr>
            <p:ph idx="1"/>
          </p:nvPr>
        </p:nvSpPr>
        <p:spPr>
          <a:xfrm>
            <a:off x="308610" y="1095852"/>
            <a:ext cx="8515350" cy="3030378"/>
          </a:xfrm>
        </p:spPr>
        <p:txBody>
          <a:bodyPr>
            <a:normAutofit fontScale="92500"/>
          </a:bodyPr>
          <a:lstStyle/>
          <a:p>
            <a:pPr marL="628650">
              <a:lnSpc>
                <a:spcPct val="80000"/>
              </a:lnSpc>
              <a:buFont typeface="Lucida Grande" charset="0"/>
              <a:buChar char="•"/>
              <a:defRPr/>
            </a:pPr>
            <a:r>
              <a:rPr lang="en-US" sz="2800" dirty="0">
                <a:sym typeface="Gill Sans" charset="0"/>
              </a:rPr>
              <a:t>Team selects items from the product backlog they can commit to completing</a:t>
            </a:r>
          </a:p>
          <a:p>
            <a:pPr marL="628650">
              <a:lnSpc>
                <a:spcPct val="80000"/>
              </a:lnSpc>
              <a:spcBef>
                <a:spcPts val="1260"/>
              </a:spcBef>
              <a:buFont typeface="Lucida Grande" charset="0"/>
              <a:buChar char="•"/>
              <a:defRPr/>
            </a:pPr>
            <a:r>
              <a:rPr lang="en-US" sz="2800" dirty="0">
                <a:sym typeface="Gill Sans" charset="0"/>
              </a:rPr>
              <a:t>Sprint backlog is created</a:t>
            </a:r>
          </a:p>
          <a:p>
            <a:pPr marL="937260" lvl="1">
              <a:lnSpc>
                <a:spcPct val="80000"/>
              </a:lnSpc>
              <a:spcBef>
                <a:spcPts val="1260"/>
              </a:spcBef>
              <a:buFont typeface="Lucida Grande" charset="0"/>
              <a:buChar char="•"/>
              <a:defRPr/>
            </a:pPr>
            <a:r>
              <a:rPr lang="en-US" sz="2400" dirty="0">
                <a:sym typeface="Gill Sans" charset="0"/>
              </a:rPr>
              <a:t>Tasks are identified and each is estimated (1-16 hours)</a:t>
            </a:r>
          </a:p>
          <a:p>
            <a:pPr marL="937260" lvl="1">
              <a:lnSpc>
                <a:spcPct val="80000"/>
              </a:lnSpc>
              <a:spcBef>
                <a:spcPts val="1260"/>
              </a:spcBef>
              <a:buFont typeface="Lucida Grande" charset="0"/>
              <a:buChar char="•"/>
              <a:defRPr/>
            </a:pPr>
            <a:r>
              <a:rPr lang="en-US" sz="2400" dirty="0">
                <a:sym typeface="Gill Sans" charset="0"/>
              </a:rPr>
              <a:t>Collaboratively, not done alone by the </a:t>
            </a:r>
            <a:r>
              <a:rPr lang="en-US" sz="2400" dirty="0" err="1">
                <a:sym typeface="Gill Sans" charset="0"/>
              </a:rPr>
              <a:t>ScrumMaster</a:t>
            </a:r>
            <a:endParaRPr lang="en-US" sz="2400" dirty="0">
              <a:sym typeface="Gill Sans" charset="0"/>
            </a:endParaRPr>
          </a:p>
          <a:p>
            <a:pPr marL="628650">
              <a:lnSpc>
                <a:spcPct val="80000"/>
              </a:lnSpc>
              <a:spcBef>
                <a:spcPts val="1260"/>
              </a:spcBef>
              <a:buFont typeface="Lucida Grande" charset="0"/>
              <a:buChar char="•"/>
              <a:defRPr/>
            </a:pPr>
            <a:r>
              <a:rPr lang="en-US" sz="2800" dirty="0">
                <a:sym typeface="Gill Sans" charset="0"/>
              </a:rPr>
              <a:t>High-level design is considered</a:t>
            </a:r>
          </a:p>
        </p:txBody>
      </p:sp>
      <p:sp>
        <p:nvSpPr>
          <p:cNvPr id="53251" name="Line 3"/>
          <p:cNvSpPr>
            <a:spLocks noChangeShapeType="1"/>
          </p:cNvSpPr>
          <p:nvPr/>
        </p:nvSpPr>
        <p:spPr bwMode="auto">
          <a:xfrm flipH="1">
            <a:off x="4194810" y="5337810"/>
            <a:ext cx="575787" cy="0"/>
          </a:xfrm>
          <a:prstGeom prst="line">
            <a:avLst/>
          </a:prstGeom>
          <a:noFill/>
          <a:ln w="50800">
            <a:solidFill>
              <a:srgbClr val="577AB1">
                <a:alpha val="50195"/>
              </a:srgbClr>
            </a:solidFill>
            <a:round/>
            <a:headEnd type="stealth" w="med" len="med"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2" name="Rectangle 4"/>
          <p:cNvSpPr>
            <a:spLocks/>
          </p:cNvSpPr>
          <p:nvPr/>
        </p:nvSpPr>
        <p:spPr bwMode="auto">
          <a:xfrm>
            <a:off x="692944" y="4151948"/>
            <a:ext cx="3509010" cy="2343150"/>
          </a:xfrm>
          <a:prstGeom prst="rect">
            <a:avLst/>
          </a:prstGeom>
          <a:blipFill dpi="0" rotWithShape="0">
            <a:blip r:embed="rId3" cstate="print"/>
            <a:srcRect/>
            <a:tile tx="0" ty="0" sx="100000" sy="100000" flip="none" algn="tl"/>
          </a:blipFill>
          <a:ln w="9525">
            <a:noFill/>
            <a:miter lim="800000"/>
            <a:headEnd/>
            <a:tailEnd/>
          </a:ln>
          <a:effectLst>
            <a:outerShdw dist="101599" dir="3119987" algn="ctr" rotWithShape="0">
              <a:schemeClr val="bg2">
                <a:alpha val="74997"/>
              </a:schemeClr>
            </a:outerShdw>
          </a:effectLst>
        </p:spPr>
        <p:txBody>
          <a:bodyPr lIns="137160" tIns="137160" rIns="137160" bIns="137160"/>
          <a:lstStyle/>
          <a:p>
            <a:pPr>
              <a:lnSpc>
                <a:spcPct val="90000"/>
              </a:lnSpc>
              <a:tabLst>
                <a:tab pos="411480" algn="l"/>
              </a:tabLst>
              <a:defRPr/>
            </a:pPr>
            <a:r>
              <a:rPr lang="en-US" dirty="0">
                <a:solidFill>
                  <a:schemeClr val="tx1"/>
                </a:solidFill>
                <a:latin typeface="Comic Sans MS" pitchFamily="80" charset="0"/>
                <a:ea typeface="Comic Sans MS" pitchFamily="80" charset="0"/>
                <a:cs typeface="Comic Sans MS" pitchFamily="80" charset="0"/>
                <a:sym typeface="Comic Sans MS" pitchFamily="80" charset="0"/>
              </a:rPr>
              <a:t>As a vacation planner, I want to see photos of the hotels.</a:t>
            </a:r>
          </a:p>
          <a:p>
            <a:pPr>
              <a:lnSpc>
                <a:spcPct val="90000"/>
              </a:lnSpc>
              <a:tabLst>
                <a:tab pos="411480" algn="l"/>
              </a:tabLst>
              <a:defRPr/>
            </a:pPr>
            <a:endParaRPr lang="en-US" dirty="0">
              <a:solidFill>
                <a:schemeClr val="tx1"/>
              </a:solidFill>
              <a:latin typeface="Comic Sans MS" pitchFamily="80" charset="0"/>
              <a:ea typeface="Comic Sans MS" pitchFamily="80" charset="0"/>
              <a:cs typeface="Comic Sans MS" pitchFamily="80" charset="0"/>
              <a:sym typeface="Comic Sans MS" pitchFamily="80" charset="0"/>
            </a:endParaRPr>
          </a:p>
        </p:txBody>
      </p:sp>
      <p:grpSp>
        <p:nvGrpSpPr>
          <p:cNvPr id="4" name="Group 5"/>
          <p:cNvGrpSpPr>
            <a:grpSpLocks/>
          </p:cNvGrpSpPr>
          <p:nvPr/>
        </p:nvGrpSpPr>
        <p:grpSpPr bwMode="auto">
          <a:xfrm>
            <a:off x="4777740" y="4309110"/>
            <a:ext cx="4069080" cy="2057400"/>
            <a:chOff x="0" y="0"/>
            <a:chExt cx="2848" cy="1440"/>
          </a:xfrm>
        </p:grpSpPr>
        <p:sp>
          <p:nvSpPr>
            <p:cNvPr id="3" name="AutoShape 6"/>
            <p:cNvSpPr>
              <a:spLocks/>
            </p:cNvSpPr>
            <p:nvPr/>
          </p:nvSpPr>
          <p:spPr bwMode="auto">
            <a:xfrm>
              <a:off x="0" y="0"/>
              <a:ext cx="2848" cy="1440"/>
            </a:xfrm>
            <a:prstGeom prst="roundRect">
              <a:avLst>
                <a:gd name="adj" fmla="val 13333"/>
              </a:avLst>
            </a:prstGeom>
            <a:blipFill dpi="0" rotWithShape="0">
              <a:blip r:embed="rId4" cstate="print"/>
              <a:srcRect/>
              <a:tile tx="0" ty="0" sx="100000" sy="100000" flip="none" algn="tl"/>
            </a:blipFill>
            <a:ln w="25400">
              <a:solidFill>
                <a:srgbClr val="003C83"/>
              </a:solidFill>
              <a:round/>
              <a:headEnd/>
              <a:tailEnd/>
            </a:ln>
            <a:effectLst>
              <a:outerShdw dist="63500" dir="2700000" algn="ctr" rotWithShape="0">
                <a:schemeClr val="bg2">
                  <a:alpha val="29999"/>
                </a:scheme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>
                <a:latin typeface="Gill Sans" pitchFamily="80" charset="0"/>
                <a:ea typeface="ヒラギノ角ゴ Pro W3" pitchFamily="80" charset="-128"/>
                <a:sym typeface="Gill Sans" pitchFamily="80" charset="0"/>
              </a:endParaRPr>
            </a:p>
          </p:txBody>
        </p:sp>
        <p:sp>
          <p:nvSpPr>
            <p:cNvPr id="53255" name="Rectangle 7"/>
            <p:cNvSpPr>
              <a:spLocks/>
            </p:cNvSpPr>
            <p:nvPr/>
          </p:nvSpPr>
          <p:spPr bwMode="auto">
            <a:xfrm>
              <a:off x="40" y="48"/>
              <a:ext cx="2760" cy="12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tabLst>
                  <a:tab pos="960120" algn="l"/>
                </a:tabLst>
              </a:pPr>
              <a:r>
                <a:rPr lang="en-US" sz="2000" dirty="0">
                  <a:solidFill>
                    <a:srgbClr val="FFFFFF"/>
                  </a:solidFill>
                </a:rPr>
                <a:t>Code the middle tier (8 hours)</a:t>
              </a:r>
            </a:p>
            <a:p>
              <a:pPr>
                <a:tabLst>
                  <a:tab pos="960120" algn="l"/>
                </a:tabLst>
              </a:pPr>
              <a:r>
                <a:rPr lang="en-US" sz="2000" dirty="0">
                  <a:solidFill>
                    <a:srgbClr val="FFFFFF"/>
                  </a:solidFill>
                </a:rPr>
                <a:t>Code the user interface (4)</a:t>
              </a:r>
            </a:p>
            <a:p>
              <a:pPr>
                <a:tabLst>
                  <a:tab pos="960120" algn="l"/>
                </a:tabLst>
              </a:pPr>
              <a:r>
                <a:rPr lang="en-US" sz="2000" dirty="0">
                  <a:solidFill>
                    <a:srgbClr val="FFFFFF"/>
                  </a:solidFill>
                </a:rPr>
                <a:t>Write test fixtures (4)</a:t>
              </a:r>
            </a:p>
            <a:p>
              <a:pPr>
                <a:tabLst>
                  <a:tab pos="960120" algn="l"/>
                </a:tabLst>
              </a:pPr>
              <a:r>
                <a:rPr lang="en-US" sz="2000" dirty="0">
                  <a:solidFill>
                    <a:srgbClr val="FFFFFF"/>
                  </a:solidFill>
                </a:rPr>
                <a:t>Code the </a:t>
              </a:r>
              <a:r>
                <a:rPr lang="en-US" sz="2000" dirty="0" err="1">
                  <a:solidFill>
                    <a:srgbClr val="FFFFFF"/>
                  </a:solidFill>
                </a:rPr>
                <a:t>foo</a:t>
              </a:r>
              <a:r>
                <a:rPr lang="en-US" sz="2000" dirty="0">
                  <a:solidFill>
                    <a:srgbClr val="FFFFFF"/>
                  </a:solidFill>
                </a:rPr>
                <a:t> class (6)</a:t>
              </a:r>
            </a:p>
            <a:p>
              <a:pPr>
                <a:tabLst>
                  <a:tab pos="960120" algn="l"/>
                </a:tabLst>
              </a:pPr>
              <a:r>
                <a:rPr lang="en-US" sz="2000" dirty="0">
                  <a:solidFill>
                    <a:srgbClr val="FFFFFF"/>
                  </a:solidFill>
                </a:rPr>
                <a:t>Update performance tests (4)</a:t>
              </a:r>
            </a:p>
          </p:txBody>
        </p:sp>
      </p:grpSp>
    </p:spTree>
  </p:cSld>
  <p:clrMapOvr>
    <a:masterClrMapping/>
  </p:clrMapOvr>
  <p:transition spd="med"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1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 eaLnBrk="1" hangingPunct="1">
              <a:defRPr/>
            </a:pPr>
            <a:r>
              <a:rPr lang="en-US" sz="2800" dirty="0">
                <a:sym typeface="Gill Sans" charset="0"/>
              </a:rPr>
              <a:t>The daily scrum</a:t>
            </a:r>
          </a:p>
        </p:txBody>
      </p:sp>
      <p:sp>
        <p:nvSpPr>
          <p:cNvPr id="29699" name="Rectangle 2"/>
          <p:cNvSpPr>
            <a:spLocks noGrp="1" noChangeArrowheads="1"/>
          </p:cNvSpPr>
          <p:nvPr>
            <p:ph idx="1"/>
          </p:nvPr>
        </p:nvSpPr>
        <p:spPr>
          <a:xfrm>
            <a:off x="308610" y="1440180"/>
            <a:ext cx="8515350" cy="4926330"/>
          </a:xfrm>
        </p:spPr>
        <p:txBody>
          <a:bodyPr/>
          <a:lstStyle/>
          <a:p>
            <a:pPr marL="628650">
              <a:lnSpc>
                <a:spcPct val="80000"/>
              </a:lnSpc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Parameters</a:t>
            </a:r>
          </a:p>
          <a:p>
            <a:pPr marL="937260" lvl="1">
              <a:lnSpc>
                <a:spcPct val="80000"/>
              </a:lnSpc>
              <a:spcBef>
                <a:spcPts val="1350"/>
              </a:spcBef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Daily</a:t>
            </a:r>
          </a:p>
          <a:p>
            <a:pPr marL="937260" lvl="1">
              <a:lnSpc>
                <a:spcPct val="80000"/>
              </a:lnSpc>
              <a:spcBef>
                <a:spcPts val="1350"/>
              </a:spcBef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15-minutes</a:t>
            </a:r>
          </a:p>
          <a:p>
            <a:pPr marL="937260" lvl="1">
              <a:lnSpc>
                <a:spcPct val="80000"/>
              </a:lnSpc>
              <a:spcBef>
                <a:spcPts val="1350"/>
              </a:spcBef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Stand-up</a:t>
            </a:r>
          </a:p>
          <a:p>
            <a:pPr marL="628650">
              <a:lnSpc>
                <a:spcPct val="80000"/>
              </a:lnSpc>
              <a:spcBef>
                <a:spcPts val="1350"/>
              </a:spcBef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Not for problem solving</a:t>
            </a:r>
          </a:p>
          <a:p>
            <a:pPr marL="937260" lvl="1">
              <a:lnSpc>
                <a:spcPct val="80000"/>
              </a:lnSpc>
              <a:spcBef>
                <a:spcPts val="1350"/>
              </a:spcBef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Whole world is invited</a:t>
            </a:r>
          </a:p>
          <a:p>
            <a:pPr marL="937260" lvl="1">
              <a:lnSpc>
                <a:spcPct val="80000"/>
              </a:lnSpc>
              <a:spcBef>
                <a:spcPts val="1350"/>
              </a:spcBef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Only team members, </a:t>
            </a:r>
            <a:r>
              <a:rPr lang="en-US" dirty="0" err="1">
                <a:sym typeface="Gill Sans" charset="0"/>
              </a:rPr>
              <a:t>ScrumMaster</a:t>
            </a:r>
            <a:r>
              <a:rPr lang="en-US" dirty="0">
                <a:sym typeface="Gill Sans" charset="0"/>
              </a:rPr>
              <a:t>, product owner, can talk</a:t>
            </a:r>
          </a:p>
          <a:p>
            <a:pPr marL="628650">
              <a:lnSpc>
                <a:spcPct val="80000"/>
              </a:lnSpc>
              <a:spcBef>
                <a:spcPts val="1350"/>
              </a:spcBef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Helps avoid other unnecessary meetings</a:t>
            </a:r>
          </a:p>
        </p:txBody>
      </p:sp>
      <p:pic>
        <p:nvPicPr>
          <p:cNvPr id="55299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114925" y="707232"/>
            <a:ext cx="3714750" cy="27832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dissolv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1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eaLnBrk="1" hangingPunct="1">
              <a:defRPr/>
            </a:pPr>
            <a:r>
              <a:rPr lang="en-US" sz="4900" dirty="0">
                <a:sym typeface="Gill Sans" charset="0"/>
              </a:rPr>
              <a:t>Everyone answers 3 questions</a:t>
            </a:r>
          </a:p>
        </p:txBody>
      </p:sp>
      <p:sp>
        <p:nvSpPr>
          <p:cNvPr id="30723" name="Rectangle 2"/>
          <p:cNvSpPr>
            <a:spLocks noGrp="1" noChangeArrowheads="1"/>
          </p:cNvSpPr>
          <p:nvPr>
            <p:ph idx="1"/>
          </p:nvPr>
        </p:nvSpPr>
        <p:spPr>
          <a:xfrm>
            <a:off x="314325" y="5516061"/>
            <a:ext cx="8515350" cy="1028700"/>
          </a:xfrm>
        </p:spPr>
        <p:txBody>
          <a:bodyPr/>
          <a:lstStyle/>
          <a:p>
            <a:pPr marL="628650">
              <a:lnSpc>
                <a:spcPct val="70000"/>
              </a:lnSpc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These are </a:t>
            </a:r>
            <a:r>
              <a:rPr lang="en-US" i="1" dirty="0">
                <a:solidFill>
                  <a:srgbClr val="FF0000"/>
                </a:solidFill>
                <a:sym typeface="Gill Sans" charset="0"/>
              </a:rPr>
              <a:t>not</a:t>
            </a:r>
            <a:r>
              <a:rPr lang="en-US" dirty="0">
                <a:sym typeface="Gill Sans" charset="0"/>
              </a:rPr>
              <a:t> status for the </a:t>
            </a:r>
            <a:r>
              <a:rPr lang="en-US" dirty="0" err="1">
                <a:sym typeface="Gill Sans" charset="0"/>
              </a:rPr>
              <a:t>ScrumMaster</a:t>
            </a:r>
            <a:endParaRPr lang="en-US" dirty="0">
              <a:sym typeface="Gill Sans" charset="0"/>
            </a:endParaRPr>
          </a:p>
          <a:p>
            <a:pPr marL="937260" lvl="1">
              <a:lnSpc>
                <a:spcPct val="70000"/>
              </a:lnSpc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They are commitments in front of peers</a:t>
            </a:r>
          </a:p>
        </p:txBody>
      </p:sp>
      <p:grpSp>
        <p:nvGrpSpPr>
          <p:cNvPr id="3" name="Group 3"/>
          <p:cNvGrpSpPr>
            <a:grpSpLocks/>
          </p:cNvGrpSpPr>
          <p:nvPr/>
        </p:nvGrpSpPr>
        <p:grpSpPr bwMode="auto">
          <a:xfrm>
            <a:off x="1374310" y="1144112"/>
            <a:ext cx="6183630" cy="1371600"/>
            <a:chOff x="0" y="0"/>
            <a:chExt cx="4328" cy="960"/>
          </a:xfrm>
        </p:grpSpPr>
        <p:sp>
          <p:nvSpPr>
            <p:cNvPr id="2" name="AutoShape 4"/>
            <p:cNvSpPr>
              <a:spLocks/>
            </p:cNvSpPr>
            <p:nvPr/>
          </p:nvSpPr>
          <p:spPr bwMode="auto">
            <a:xfrm>
              <a:off x="0" y="312"/>
              <a:ext cx="4264" cy="648"/>
            </a:xfrm>
            <a:prstGeom prst="roundRect">
              <a:avLst>
                <a:gd name="adj" fmla="val 29630"/>
              </a:avLst>
            </a:prstGeom>
            <a:blipFill dpi="0" rotWithShape="0">
              <a:blip r:embed="rId3" cstate="print"/>
              <a:srcRect/>
              <a:tile tx="0" ty="0" sx="100000" sy="100000" flip="none" algn="tl"/>
            </a:blipFill>
            <a:ln w="25400">
              <a:solidFill>
                <a:srgbClr val="00531C"/>
              </a:solidFill>
              <a:round/>
              <a:headEnd/>
              <a:tailEnd/>
            </a:ln>
            <a:effectLst>
              <a:outerShdw dist="63500" dir="2700000" algn="ctr" rotWithShape="0">
                <a:schemeClr val="bg2">
                  <a:alpha val="29999"/>
                </a:schemeClr>
              </a:outerShdw>
            </a:effectLst>
          </p:spPr>
          <p:txBody>
            <a:bodyPr lIns="0" tIns="0" rIns="0" bIns="0" anchor="ctr"/>
            <a:lstStyle/>
            <a:p>
              <a:pPr>
                <a:tabLst>
                  <a:tab pos="960120" algn="l"/>
                </a:tabLst>
                <a:defRPr/>
              </a:pPr>
              <a:r>
                <a:rPr lang="en-US" sz="3200" dirty="0">
                  <a:solidFill>
                    <a:srgbClr val="FFFFFF"/>
                  </a:solidFill>
                  <a:latin typeface="Arial" charset="0"/>
                  <a:ea typeface="ヒラギノ角ゴ Pro W3" pitchFamily="80" charset="-128"/>
                  <a:cs typeface="Arial" charset="0"/>
                  <a:sym typeface="Arial" charset="0"/>
                </a:rPr>
                <a:t>What did you do yesterday?</a:t>
              </a:r>
            </a:p>
          </p:txBody>
        </p:sp>
        <p:grpSp>
          <p:nvGrpSpPr>
            <p:cNvPr id="6" name="Group 5"/>
            <p:cNvGrpSpPr>
              <a:grpSpLocks/>
            </p:cNvGrpSpPr>
            <p:nvPr/>
          </p:nvGrpSpPr>
          <p:grpSpPr bwMode="auto">
            <a:xfrm>
              <a:off x="3728" y="0"/>
              <a:ext cx="600" cy="600"/>
              <a:chOff x="0" y="0"/>
              <a:chExt cx="600" cy="600"/>
            </a:xfrm>
          </p:grpSpPr>
          <p:pic>
            <p:nvPicPr>
              <p:cNvPr id="4" name="Picture 6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0" y="0"/>
                <a:ext cx="600" cy="600"/>
              </a:xfrm>
              <a:prstGeom prst="rect">
                <a:avLst/>
              </a:prstGeom>
              <a:noFill/>
              <a:ln w="25400">
                <a:noFill/>
                <a:miter lim="800000"/>
                <a:headEnd/>
                <a:tailEnd/>
              </a:ln>
              <a:effectLst>
                <a:outerShdw dist="101600" dir="2700000" algn="ctr" rotWithShape="0">
                  <a:schemeClr val="bg2">
                    <a:alpha val="79999"/>
                  </a:schemeClr>
                </a:outerShdw>
              </a:effectLst>
            </p:spPr>
          </p:pic>
          <p:sp>
            <p:nvSpPr>
              <p:cNvPr id="30727" name="Rectangle 7"/>
              <p:cNvSpPr>
                <a:spLocks/>
              </p:cNvSpPr>
              <p:nvPr/>
            </p:nvSpPr>
            <p:spPr bwMode="auto">
              <a:xfrm>
                <a:off x="123" y="40"/>
                <a:ext cx="336" cy="52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>
                <a:outerShdw dist="25399" dir="13500000" algn="ctr" rotWithShape="0">
                  <a:schemeClr val="bg2">
                    <a:alpha val="74997"/>
                  </a:schemeClr>
                </a:outerShdw>
              </a:effectLst>
            </p:spPr>
            <p:txBody>
              <a:bodyPr lIns="50800" tIns="50800" rIns="50800" bIns="50800"/>
              <a:lstStyle/>
              <a:p>
                <a:pPr>
                  <a:tabLst>
                    <a:tab pos="960120" algn="l"/>
                  </a:tabLst>
                  <a:defRPr/>
                </a:pPr>
                <a:r>
                  <a:rPr lang="en-US" sz="4500" dirty="0">
                    <a:solidFill>
                      <a:srgbClr val="FFFFFF"/>
                    </a:solidFill>
                    <a:latin typeface="Arial Rounded MT Bold" pitchFamily="80" charset="0"/>
                    <a:ea typeface="Arial Rounded MT Bold" pitchFamily="80" charset="0"/>
                    <a:cs typeface="Arial Rounded MT Bold" pitchFamily="80" charset="0"/>
                    <a:sym typeface="Arial Rounded MT Bold" pitchFamily="80" charset="0"/>
                  </a:rPr>
                  <a:t>1</a:t>
                </a:r>
              </a:p>
            </p:txBody>
          </p:sp>
        </p:grpSp>
      </p:grpSp>
      <p:grpSp>
        <p:nvGrpSpPr>
          <p:cNvPr id="7" name="Group 8"/>
          <p:cNvGrpSpPr>
            <a:grpSpLocks/>
          </p:cNvGrpSpPr>
          <p:nvPr/>
        </p:nvGrpSpPr>
        <p:grpSpPr bwMode="auto">
          <a:xfrm>
            <a:off x="1404790" y="2542089"/>
            <a:ext cx="6183630" cy="1371600"/>
            <a:chOff x="0" y="0"/>
            <a:chExt cx="4328" cy="960"/>
          </a:xfrm>
        </p:grpSpPr>
        <p:sp>
          <p:nvSpPr>
            <p:cNvPr id="30729" name="AutoShape 9"/>
            <p:cNvSpPr>
              <a:spLocks/>
            </p:cNvSpPr>
            <p:nvPr/>
          </p:nvSpPr>
          <p:spPr bwMode="auto">
            <a:xfrm>
              <a:off x="0" y="312"/>
              <a:ext cx="4264" cy="648"/>
            </a:xfrm>
            <a:prstGeom prst="roundRect">
              <a:avLst>
                <a:gd name="adj" fmla="val 29630"/>
              </a:avLst>
            </a:prstGeom>
            <a:blipFill dpi="0" rotWithShape="0">
              <a:blip r:embed="rId3" cstate="print"/>
              <a:srcRect/>
              <a:tile tx="0" ty="0" sx="100000" sy="100000" flip="none" algn="tl"/>
            </a:blipFill>
            <a:ln w="25400">
              <a:solidFill>
                <a:srgbClr val="00531C"/>
              </a:solidFill>
              <a:round/>
              <a:headEnd/>
              <a:tailEnd/>
            </a:ln>
            <a:effectLst>
              <a:outerShdw dist="63500" dir="2700000" algn="ctr" rotWithShape="0">
                <a:schemeClr val="bg2">
                  <a:alpha val="29999"/>
                </a:schemeClr>
              </a:outerShdw>
            </a:effectLst>
          </p:spPr>
          <p:txBody>
            <a:bodyPr lIns="0" tIns="0" rIns="0" bIns="0" anchor="ctr"/>
            <a:lstStyle/>
            <a:p>
              <a:pPr>
                <a:tabLst>
                  <a:tab pos="960120" algn="l"/>
                </a:tabLst>
                <a:defRPr/>
              </a:pPr>
              <a:r>
                <a:rPr lang="en-US" sz="3200" dirty="0">
                  <a:solidFill>
                    <a:srgbClr val="FFFFFF"/>
                  </a:solidFill>
                  <a:latin typeface="Arial" charset="0"/>
                  <a:ea typeface="ヒラギノ角ゴ Pro W3" pitchFamily="80" charset="-128"/>
                  <a:cs typeface="Arial" charset="0"/>
                  <a:sym typeface="Arial" charset="0"/>
                </a:rPr>
                <a:t>What will you do today?</a:t>
              </a:r>
            </a:p>
          </p:txBody>
        </p:sp>
        <p:grpSp>
          <p:nvGrpSpPr>
            <p:cNvPr id="8" name="Group 10"/>
            <p:cNvGrpSpPr>
              <a:grpSpLocks/>
            </p:cNvGrpSpPr>
            <p:nvPr/>
          </p:nvGrpSpPr>
          <p:grpSpPr bwMode="auto">
            <a:xfrm>
              <a:off x="3728" y="0"/>
              <a:ext cx="600" cy="600"/>
              <a:chOff x="0" y="0"/>
              <a:chExt cx="600" cy="600"/>
            </a:xfrm>
          </p:grpSpPr>
          <p:pic>
            <p:nvPicPr>
              <p:cNvPr id="30731" name="Picture 11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0" y="0"/>
                <a:ext cx="600" cy="600"/>
              </a:xfrm>
              <a:prstGeom prst="rect">
                <a:avLst/>
              </a:prstGeom>
              <a:noFill/>
              <a:ln w="25400">
                <a:noFill/>
                <a:miter lim="800000"/>
                <a:headEnd/>
                <a:tailEnd/>
              </a:ln>
              <a:effectLst>
                <a:outerShdw dist="101600" dir="2700000" algn="ctr" rotWithShape="0">
                  <a:schemeClr val="bg2">
                    <a:alpha val="79999"/>
                  </a:schemeClr>
                </a:outerShdw>
              </a:effectLst>
            </p:spPr>
          </p:pic>
          <p:sp>
            <p:nvSpPr>
              <p:cNvPr id="5" name="Rectangle 12"/>
              <p:cNvSpPr>
                <a:spLocks/>
              </p:cNvSpPr>
              <p:nvPr/>
            </p:nvSpPr>
            <p:spPr bwMode="auto">
              <a:xfrm>
                <a:off x="123" y="40"/>
                <a:ext cx="336" cy="52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>
                <a:outerShdw dist="25399" dir="13500000" algn="ctr" rotWithShape="0">
                  <a:schemeClr val="bg2">
                    <a:alpha val="74997"/>
                  </a:schemeClr>
                </a:outerShdw>
              </a:effectLst>
            </p:spPr>
            <p:txBody>
              <a:bodyPr lIns="50800" tIns="50800" rIns="50800" bIns="50800"/>
              <a:lstStyle/>
              <a:p>
                <a:pPr>
                  <a:tabLst>
                    <a:tab pos="960120" algn="l"/>
                  </a:tabLst>
                  <a:defRPr/>
                </a:pPr>
                <a:r>
                  <a:rPr lang="en-US" sz="4500" dirty="0">
                    <a:solidFill>
                      <a:srgbClr val="FFFFFF"/>
                    </a:solidFill>
                    <a:latin typeface="Arial Rounded MT Bold" pitchFamily="80" charset="0"/>
                    <a:ea typeface="Arial Rounded MT Bold" pitchFamily="80" charset="0"/>
                    <a:cs typeface="Arial Rounded MT Bold" pitchFamily="80" charset="0"/>
                    <a:sym typeface="Arial Rounded MT Bold" pitchFamily="80" charset="0"/>
                  </a:rPr>
                  <a:t>2</a:t>
                </a:r>
              </a:p>
            </p:txBody>
          </p:sp>
        </p:grpSp>
      </p:grpSp>
      <p:grpSp>
        <p:nvGrpSpPr>
          <p:cNvPr id="9" name="Group 13"/>
          <p:cNvGrpSpPr>
            <a:grpSpLocks/>
          </p:cNvGrpSpPr>
          <p:nvPr/>
        </p:nvGrpSpPr>
        <p:grpSpPr bwMode="auto">
          <a:xfrm>
            <a:off x="1328590" y="3806190"/>
            <a:ext cx="6183630" cy="1371600"/>
            <a:chOff x="0" y="0"/>
            <a:chExt cx="4328" cy="960"/>
          </a:xfrm>
        </p:grpSpPr>
        <p:sp>
          <p:nvSpPr>
            <p:cNvPr id="30734" name="AutoShape 14"/>
            <p:cNvSpPr>
              <a:spLocks/>
            </p:cNvSpPr>
            <p:nvPr/>
          </p:nvSpPr>
          <p:spPr bwMode="auto">
            <a:xfrm>
              <a:off x="0" y="312"/>
              <a:ext cx="4264" cy="648"/>
            </a:xfrm>
            <a:prstGeom prst="roundRect">
              <a:avLst>
                <a:gd name="adj" fmla="val 29630"/>
              </a:avLst>
            </a:prstGeom>
            <a:blipFill dpi="0" rotWithShape="0">
              <a:blip r:embed="rId3" cstate="print"/>
              <a:srcRect/>
              <a:tile tx="0" ty="0" sx="100000" sy="100000" flip="none" algn="tl"/>
            </a:blipFill>
            <a:ln w="25400">
              <a:solidFill>
                <a:srgbClr val="00531C"/>
              </a:solidFill>
              <a:round/>
              <a:headEnd/>
              <a:tailEnd/>
            </a:ln>
            <a:effectLst>
              <a:outerShdw dist="63500" dir="2700000" algn="ctr" rotWithShape="0">
                <a:schemeClr val="bg2">
                  <a:alpha val="29999"/>
                </a:schemeClr>
              </a:outerShdw>
            </a:effectLst>
          </p:spPr>
          <p:txBody>
            <a:bodyPr lIns="0" tIns="0" rIns="0" bIns="0" anchor="ctr"/>
            <a:lstStyle/>
            <a:p>
              <a:pPr>
                <a:tabLst>
                  <a:tab pos="960120" algn="l"/>
                </a:tabLst>
                <a:defRPr/>
              </a:pPr>
              <a:r>
                <a:rPr lang="en-US" sz="3200" dirty="0">
                  <a:solidFill>
                    <a:srgbClr val="FFFFFF"/>
                  </a:solidFill>
                  <a:latin typeface="Arial" charset="0"/>
                  <a:ea typeface="ヒラギノ角ゴ Pro W3" pitchFamily="80" charset="-128"/>
                  <a:cs typeface="Arial" charset="0"/>
                  <a:sym typeface="Arial" charset="0"/>
                </a:rPr>
                <a:t>Is anything in your way?</a:t>
              </a:r>
            </a:p>
          </p:txBody>
        </p:sp>
        <p:grpSp>
          <p:nvGrpSpPr>
            <p:cNvPr id="10" name="Group 15"/>
            <p:cNvGrpSpPr>
              <a:grpSpLocks/>
            </p:cNvGrpSpPr>
            <p:nvPr/>
          </p:nvGrpSpPr>
          <p:grpSpPr bwMode="auto">
            <a:xfrm>
              <a:off x="3728" y="0"/>
              <a:ext cx="600" cy="600"/>
              <a:chOff x="0" y="0"/>
              <a:chExt cx="600" cy="600"/>
            </a:xfrm>
          </p:grpSpPr>
          <p:pic>
            <p:nvPicPr>
              <p:cNvPr id="30736" name="Picture 16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0" y="0"/>
                <a:ext cx="600" cy="600"/>
              </a:xfrm>
              <a:prstGeom prst="rect">
                <a:avLst/>
              </a:prstGeom>
              <a:noFill/>
              <a:ln w="25400">
                <a:noFill/>
                <a:miter lim="800000"/>
                <a:headEnd/>
                <a:tailEnd/>
              </a:ln>
              <a:effectLst>
                <a:outerShdw dist="101600" dir="2700000" algn="ctr" rotWithShape="0">
                  <a:schemeClr val="bg2">
                    <a:alpha val="79999"/>
                  </a:schemeClr>
                </a:outerShdw>
              </a:effectLst>
            </p:spPr>
          </p:pic>
          <p:sp>
            <p:nvSpPr>
              <p:cNvPr id="30737" name="Rectangle 17"/>
              <p:cNvSpPr>
                <a:spLocks/>
              </p:cNvSpPr>
              <p:nvPr/>
            </p:nvSpPr>
            <p:spPr bwMode="auto">
              <a:xfrm>
                <a:off x="123" y="40"/>
                <a:ext cx="336" cy="52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>
                <a:outerShdw dist="25399" dir="13500000" algn="ctr" rotWithShape="0">
                  <a:schemeClr val="bg2">
                    <a:alpha val="74997"/>
                  </a:schemeClr>
                </a:outerShdw>
              </a:effectLst>
            </p:spPr>
            <p:txBody>
              <a:bodyPr lIns="50800" tIns="50800" rIns="50800" bIns="50800"/>
              <a:lstStyle/>
              <a:p>
                <a:pPr>
                  <a:tabLst>
                    <a:tab pos="960120" algn="l"/>
                  </a:tabLst>
                  <a:defRPr/>
                </a:pPr>
                <a:r>
                  <a:rPr lang="en-US" sz="4500" dirty="0">
                    <a:solidFill>
                      <a:srgbClr val="FFFFFF"/>
                    </a:solidFill>
                    <a:latin typeface="Arial Rounded MT Bold" pitchFamily="80" charset="0"/>
                    <a:ea typeface="Arial Rounded MT Bold" pitchFamily="80" charset="0"/>
                    <a:cs typeface="Arial Rounded MT Bold" pitchFamily="80" charset="0"/>
                    <a:sym typeface="Arial Rounded MT Bold" pitchFamily="80" charset="0"/>
                  </a:rPr>
                  <a:t>3</a:t>
                </a:r>
              </a:p>
            </p:txBody>
          </p:sp>
        </p:grpSp>
      </p:grpSp>
    </p:spTree>
  </p:cSld>
  <p:clrMapOvr>
    <a:masterClrMapping/>
  </p:clrMapOvr>
  <p:transition spd="slow">
    <p:dissolv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1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 eaLnBrk="1" hangingPunct="1">
              <a:defRPr/>
            </a:pPr>
            <a:r>
              <a:rPr lang="en-US" sz="3200" dirty="0">
                <a:sym typeface="Gill Sans" charset="0"/>
              </a:rPr>
              <a:t>The sprint review</a:t>
            </a:r>
          </a:p>
        </p:txBody>
      </p:sp>
      <p:sp>
        <p:nvSpPr>
          <p:cNvPr id="31747" name="Rectangle 2"/>
          <p:cNvSpPr>
            <a:spLocks noGrp="1" noChangeArrowheads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628650">
              <a:lnSpc>
                <a:spcPct val="80000"/>
              </a:lnSpc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Team presents what it accomplished during the sprint</a:t>
            </a:r>
          </a:p>
          <a:p>
            <a:pPr marL="628650">
              <a:lnSpc>
                <a:spcPct val="80000"/>
              </a:lnSpc>
              <a:spcBef>
                <a:spcPts val="1350"/>
              </a:spcBef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Typically takes the form of a demo of new features or underlying architecture</a:t>
            </a:r>
          </a:p>
          <a:p>
            <a:pPr marL="628650">
              <a:lnSpc>
                <a:spcPct val="80000"/>
              </a:lnSpc>
              <a:spcBef>
                <a:spcPts val="1350"/>
              </a:spcBef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Informal</a:t>
            </a:r>
          </a:p>
          <a:p>
            <a:pPr marL="937260" lvl="1">
              <a:lnSpc>
                <a:spcPct val="80000"/>
              </a:lnSpc>
              <a:spcBef>
                <a:spcPts val="1350"/>
              </a:spcBef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2-hour prep time rule</a:t>
            </a:r>
          </a:p>
          <a:p>
            <a:pPr marL="937260" lvl="1">
              <a:lnSpc>
                <a:spcPct val="80000"/>
              </a:lnSpc>
              <a:spcBef>
                <a:spcPts val="1350"/>
              </a:spcBef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No slides</a:t>
            </a:r>
          </a:p>
          <a:p>
            <a:pPr marL="628650">
              <a:lnSpc>
                <a:spcPct val="80000"/>
              </a:lnSpc>
              <a:spcBef>
                <a:spcPts val="1350"/>
              </a:spcBef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Whole team participates</a:t>
            </a:r>
          </a:p>
          <a:p>
            <a:pPr marL="628650">
              <a:lnSpc>
                <a:spcPct val="80000"/>
              </a:lnSpc>
              <a:spcBef>
                <a:spcPts val="1350"/>
              </a:spcBef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Invite the world</a:t>
            </a:r>
          </a:p>
        </p:txBody>
      </p:sp>
      <p:pic>
        <p:nvPicPr>
          <p:cNvPr id="59395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377940" y="4686300"/>
            <a:ext cx="2508885" cy="16744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9396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063490" y="3200400"/>
            <a:ext cx="2508885" cy="16744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dissolv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1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 eaLnBrk="1" hangingPunct="1">
              <a:defRPr/>
            </a:pPr>
            <a:r>
              <a:rPr lang="en-US" sz="2800" dirty="0">
                <a:sym typeface="Gill Sans" charset="0"/>
              </a:rPr>
              <a:t>Sprint retrospective</a:t>
            </a:r>
          </a:p>
        </p:txBody>
      </p:sp>
      <p:sp>
        <p:nvSpPr>
          <p:cNvPr id="32771" name="Rectangle 2"/>
          <p:cNvSpPr>
            <a:spLocks noGrp="1" noChangeArrowheads="1"/>
          </p:cNvSpPr>
          <p:nvPr>
            <p:ph idx="1"/>
          </p:nvPr>
        </p:nvSpPr>
        <p:spPr>
          <a:xfrm>
            <a:off x="308610" y="1440180"/>
            <a:ext cx="8515350" cy="4869180"/>
          </a:xfrm>
        </p:spPr>
        <p:txBody>
          <a:bodyPr/>
          <a:lstStyle/>
          <a:p>
            <a:pPr marL="628650">
              <a:lnSpc>
                <a:spcPct val="80000"/>
              </a:lnSpc>
            </a:pPr>
            <a:r>
              <a:rPr lang="en-US" dirty="0"/>
              <a:t>Periodically take a look at what is and is not working</a:t>
            </a:r>
          </a:p>
          <a:p>
            <a:pPr marL="628650">
              <a:lnSpc>
                <a:spcPct val="80000"/>
              </a:lnSpc>
              <a:spcBef>
                <a:spcPts val="1170"/>
              </a:spcBef>
            </a:pPr>
            <a:r>
              <a:rPr lang="en-US" dirty="0"/>
              <a:t>Typically 15–30 minutes</a:t>
            </a:r>
          </a:p>
          <a:p>
            <a:pPr marL="628650">
              <a:lnSpc>
                <a:spcPct val="80000"/>
              </a:lnSpc>
              <a:spcBef>
                <a:spcPts val="1170"/>
              </a:spcBef>
            </a:pPr>
            <a:r>
              <a:rPr lang="en-US" dirty="0"/>
              <a:t>Done after every sprint</a:t>
            </a:r>
          </a:p>
          <a:p>
            <a:pPr marL="628650">
              <a:lnSpc>
                <a:spcPct val="80000"/>
              </a:lnSpc>
              <a:spcBef>
                <a:spcPts val="1170"/>
              </a:spcBef>
            </a:pPr>
            <a:r>
              <a:rPr lang="en-US" dirty="0"/>
              <a:t>Whole team participates</a:t>
            </a:r>
          </a:p>
          <a:p>
            <a:pPr marL="937260" lvl="1">
              <a:lnSpc>
                <a:spcPct val="80000"/>
              </a:lnSpc>
              <a:spcBef>
                <a:spcPts val="1170"/>
              </a:spcBef>
            </a:pPr>
            <a:r>
              <a:rPr lang="en-US" dirty="0" err="1"/>
              <a:t>ScrumMaster</a:t>
            </a:r>
            <a:endParaRPr lang="en-US" dirty="0"/>
          </a:p>
          <a:p>
            <a:pPr marL="937260" lvl="1">
              <a:lnSpc>
                <a:spcPct val="80000"/>
              </a:lnSpc>
              <a:spcBef>
                <a:spcPts val="1170"/>
              </a:spcBef>
            </a:pPr>
            <a:r>
              <a:rPr lang="en-US" dirty="0"/>
              <a:t>Product owner</a:t>
            </a:r>
          </a:p>
          <a:p>
            <a:pPr marL="937260" lvl="1">
              <a:lnSpc>
                <a:spcPct val="80000"/>
              </a:lnSpc>
              <a:spcBef>
                <a:spcPts val="1170"/>
              </a:spcBef>
            </a:pPr>
            <a:r>
              <a:rPr lang="en-US" dirty="0"/>
              <a:t>Team</a:t>
            </a:r>
          </a:p>
          <a:p>
            <a:pPr marL="937260" lvl="1">
              <a:lnSpc>
                <a:spcPct val="80000"/>
              </a:lnSpc>
              <a:spcBef>
                <a:spcPts val="1170"/>
              </a:spcBef>
            </a:pPr>
            <a:r>
              <a:rPr lang="en-US" dirty="0"/>
              <a:t>Possibly customers and others</a:t>
            </a:r>
          </a:p>
        </p:txBody>
      </p:sp>
    </p:spTree>
  </p:cSld>
  <p:clrMapOvr>
    <a:masterClrMapping/>
  </p:clrMapOvr>
  <p:transition spd="slow">
    <p:dissolv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1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>
              <a:defRPr/>
            </a:pPr>
            <a:r>
              <a:rPr lang="en-US" sz="2800" dirty="0">
                <a:sym typeface="Gill Sans" charset="0"/>
              </a:rPr>
              <a:t>Start / Stop / Continue</a:t>
            </a:r>
          </a:p>
        </p:txBody>
      </p:sp>
      <p:sp>
        <p:nvSpPr>
          <p:cNvPr id="33795" name="Rectangle 2"/>
          <p:cNvSpPr>
            <a:spLocks noGrp="1" noChangeArrowheads="1"/>
          </p:cNvSpPr>
          <p:nvPr>
            <p:ph idx="1"/>
          </p:nvPr>
        </p:nvSpPr>
        <p:spPr>
          <a:xfrm>
            <a:off x="308610" y="1440180"/>
            <a:ext cx="8515350" cy="1257300"/>
          </a:xfrm>
        </p:spPr>
        <p:txBody>
          <a:bodyPr/>
          <a:lstStyle/>
          <a:p>
            <a:pPr marL="628650"/>
            <a:r>
              <a:rPr lang="en-US" dirty="0"/>
              <a:t>Whole team gathers and discusses what they</a:t>
            </a:r>
            <a:r>
              <a:rPr lang="ja-JP" altLang="en-US"/>
              <a:t>’</a:t>
            </a:r>
            <a:r>
              <a:rPr lang="en-US" altLang="ja-JP" dirty="0"/>
              <a:t>d like to:</a:t>
            </a:r>
            <a:endParaRPr lang="en-US" dirty="0"/>
          </a:p>
        </p:txBody>
      </p:sp>
      <p:sp>
        <p:nvSpPr>
          <p:cNvPr id="2" name="AutoShape 3"/>
          <p:cNvSpPr>
            <a:spLocks/>
          </p:cNvSpPr>
          <p:nvPr/>
        </p:nvSpPr>
        <p:spPr bwMode="auto">
          <a:xfrm>
            <a:off x="1348740" y="2537460"/>
            <a:ext cx="3440430" cy="880110"/>
          </a:xfrm>
          <a:prstGeom prst="roundRect">
            <a:avLst>
              <a:gd name="adj" fmla="val 31167"/>
            </a:avLst>
          </a:prstGeom>
          <a:blipFill dpi="0" rotWithShape="0">
            <a:blip r:embed="rId3" cstate="print"/>
            <a:srcRect/>
            <a:tile tx="0" ty="0" sx="100000" sy="100000" flip="none" algn="tl"/>
          </a:blipFill>
          <a:ln w="25400">
            <a:solidFill>
              <a:srgbClr val="003C83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0" tIns="0" rIns="0" bIns="0" anchor="ctr"/>
          <a:lstStyle/>
          <a:p>
            <a:pPr>
              <a:tabLst>
                <a:tab pos="960120" algn="l"/>
              </a:tabLst>
              <a:defRPr/>
            </a:pPr>
            <a:r>
              <a:rPr lang="en-US" sz="3600" dirty="0">
                <a:solidFill>
                  <a:srgbClr val="FFFFFF"/>
                </a:solidFill>
                <a:latin typeface="Gill Sans" pitchFamily="80" charset="0"/>
                <a:ea typeface="Gill Sans" pitchFamily="80" charset="0"/>
                <a:cs typeface="Gill Sans" pitchFamily="80" charset="0"/>
                <a:sym typeface="Gill Sans" pitchFamily="80" charset="0"/>
              </a:rPr>
              <a:t>Start doing</a:t>
            </a:r>
            <a:endParaRPr lang="en-US" sz="3200" dirty="0">
              <a:solidFill>
                <a:srgbClr val="FFFFFF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Gill Sans" pitchFamily="80" charset="0"/>
              <a:ea typeface="Gill Sans" pitchFamily="80" charset="0"/>
              <a:cs typeface="Gill Sans" pitchFamily="80" charset="0"/>
              <a:sym typeface="Gill Sans" pitchFamily="80" charset="0"/>
            </a:endParaRPr>
          </a:p>
        </p:txBody>
      </p:sp>
      <p:sp>
        <p:nvSpPr>
          <p:cNvPr id="33796" name="AutoShape 4"/>
          <p:cNvSpPr>
            <a:spLocks/>
          </p:cNvSpPr>
          <p:nvPr/>
        </p:nvSpPr>
        <p:spPr bwMode="auto">
          <a:xfrm>
            <a:off x="2846070" y="3646170"/>
            <a:ext cx="3440430" cy="880110"/>
          </a:xfrm>
          <a:prstGeom prst="roundRect">
            <a:avLst>
              <a:gd name="adj" fmla="val 31167"/>
            </a:avLst>
          </a:prstGeom>
          <a:blipFill dpi="0" rotWithShape="0">
            <a:blip r:embed="rId3" cstate="print"/>
            <a:srcRect/>
            <a:tile tx="0" ty="0" sx="100000" sy="100000" flip="none" algn="tl"/>
          </a:blipFill>
          <a:ln w="25400">
            <a:solidFill>
              <a:srgbClr val="003C83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0" tIns="0" rIns="0" bIns="0" anchor="ctr"/>
          <a:lstStyle/>
          <a:p>
            <a:pPr>
              <a:tabLst>
                <a:tab pos="960120" algn="l"/>
              </a:tabLst>
              <a:defRPr/>
            </a:pPr>
            <a:r>
              <a:rPr lang="en-US" sz="3600" dirty="0">
                <a:solidFill>
                  <a:srgbClr val="FFFFFF"/>
                </a:solidFill>
                <a:latin typeface="Gill Sans" pitchFamily="80" charset="0"/>
                <a:ea typeface="Gill Sans" pitchFamily="80" charset="0"/>
                <a:cs typeface="Gill Sans" pitchFamily="80" charset="0"/>
                <a:sym typeface="Gill Sans" pitchFamily="80" charset="0"/>
              </a:rPr>
              <a:t>Stop doing</a:t>
            </a:r>
          </a:p>
        </p:txBody>
      </p:sp>
      <p:sp>
        <p:nvSpPr>
          <p:cNvPr id="33797" name="AutoShape 5"/>
          <p:cNvSpPr>
            <a:spLocks/>
          </p:cNvSpPr>
          <p:nvPr/>
        </p:nvSpPr>
        <p:spPr bwMode="auto">
          <a:xfrm>
            <a:off x="4343400" y="4754880"/>
            <a:ext cx="3440430" cy="880110"/>
          </a:xfrm>
          <a:prstGeom prst="roundRect">
            <a:avLst>
              <a:gd name="adj" fmla="val 31167"/>
            </a:avLst>
          </a:prstGeom>
          <a:blipFill dpi="0" rotWithShape="0">
            <a:blip r:embed="rId3" cstate="print"/>
            <a:srcRect/>
            <a:tile tx="0" ty="0" sx="100000" sy="100000" flip="none" algn="tl"/>
          </a:blipFill>
          <a:ln w="25400">
            <a:solidFill>
              <a:srgbClr val="003C83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0" tIns="0" rIns="0" bIns="0" anchor="ctr"/>
          <a:lstStyle/>
          <a:p>
            <a:pPr>
              <a:tabLst>
                <a:tab pos="960120" algn="l"/>
              </a:tabLst>
              <a:defRPr/>
            </a:pPr>
            <a:r>
              <a:rPr lang="en-US" sz="3600" dirty="0">
                <a:solidFill>
                  <a:srgbClr val="FFFFFF"/>
                </a:solidFill>
                <a:latin typeface="Gill Sans" pitchFamily="80" charset="0"/>
                <a:ea typeface="Gill Sans" pitchFamily="80" charset="0"/>
                <a:cs typeface="Gill Sans" pitchFamily="80" charset="0"/>
                <a:sym typeface="Gill Sans" pitchFamily="80" charset="0"/>
              </a:rPr>
              <a:t>Continue doing</a:t>
            </a:r>
            <a:endParaRPr lang="en-US" sz="3200" dirty="0">
              <a:solidFill>
                <a:srgbClr val="FFFFFF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Gill Sans" pitchFamily="80" charset="0"/>
              <a:ea typeface="Gill Sans" pitchFamily="80" charset="0"/>
              <a:cs typeface="Gill Sans" pitchFamily="80" charset="0"/>
              <a:sym typeface="Gill Sans" pitchFamily="80" charset="0"/>
            </a:endParaRPr>
          </a:p>
        </p:txBody>
      </p:sp>
      <p:grpSp>
        <p:nvGrpSpPr>
          <p:cNvPr id="3" name="Group 6"/>
          <p:cNvGrpSpPr>
            <a:grpSpLocks/>
          </p:cNvGrpSpPr>
          <p:nvPr/>
        </p:nvGrpSpPr>
        <p:grpSpPr bwMode="auto">
          <a:xfrm>
            <a:off x="1005840" y="4366260"/>
            <a:ext cx="2788920" cy="2108835"/>
            <a:chOff x="0" y="0"/>
            <a:chExt cx="1951" cy="1476"/>
          </a:xfrm>
        </p:grpSpPr>
        <p:pic>
          <p:nvPicPr>
            <p:cNvPr id="63495" name="Picture 7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0" y="0"/>
              <a:ext cx="1951" cy="1476"/>
            </a:xfrm>
            <a:prstGeom prst="rect">
              <a:avLst/>
            </a:prstGeom>
            <a:noFill/>
            <a:ln w="25400">
              <a:noFill/>
              <a:miter lim="800000"/>
              <a:headEnd/>
              <a:tailEnd/>
            </a:ln>
          </p:spPr>
        </p:pic>
        <p:sp>
          <p:nvSpPr>
            <p:cNvPr id="63496" name="Rectangle 8"/>
            <p:cNvSpPr>
              <a:spLocks/>
            </p:cNvSpPr>
            <p:nvPr/>
          </p:nvSpPr>
          <p:spPr bwMode="auto">
            <a:xfrm>
              <a:off x="102" y="144"/>
              <a:ext cx="1576" cy="10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>
                <a:lnSpc>
                  <a:spcPct val="80000"/>
                </a:lnSpc>
              </a:pPr>
              <a:r>
                <a:rPr lang="en-US" sz="2300" dirty="0">
                  <a:solidFill>
                    <a:srgbClr val="FF0000"/>
                  </a:solidFill>
                  <a:latin typeface="Comic Sans MS" pitchFamily="66" charset="0"/>
                  <a:sym typeface="Comic Sans MS" pitchFamily="66" charset="0"/>
                </a:rPr>
                <a:t>This is just one of many ways to do a sprint retrospective.</a:t>
              </a:r>
            </a:p>
          </p:txBody>
        </p:sp>
      </p:grpSp>
    </p:spTree>
  </p:cSld>
  <p:clrMapOvr>
    <a:masterClrMapping/>
  </p:clrMapOvr>
  <p:transition spd="med">
    <p:cover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"/>
          <p:cNvGrpSpPr>
            <a:grpSpLocks/>
          </p:cNvGrpSpPr>
          <p:nvPr/>
        </p:nvGrpSpPr>
        <p:grpSpPr bwMode="auto">
          <a:xfrm>
            <a:off x="651510" y="971550"/>
            <a:ext cx="3726180" cy="1840230"/>
            <a:chOff x="0" y="0"/>
            <a:chExt cx="2608" cy="1288"/>
          </a:xfrm>
        </p:grpSpPr>
        <p:sp>
          <p:nvSpPr>
            <p:cNvPr id="2" name="AutoShape 2"/>
            <p:cNvSpPr>
              <a:spLocks/>
            </p:cNvSpPr>
            <p:nvPr/>
          </p:nvSpPr>
          <p:spPr bwMode="auto">
            <a:xfrm>
              <a:off x="8" y="0"/>
              <a:ext cx="2600" cy="1288"/>
            </a:xfrm>
            <a:prstGeom prst="roundRect">
              <a:avLst>
                <a:gd name="adj" fmla="val 14903"/>
              </a:avLst>
            </a:prstGeom>
            <a:solidFill>
              <a:srgbClr val="E6E6E6"/>
            </a:solidFill>
            <a:ln w="25400">
              <a:solidFill>
                <a:srgbClr val="B3B3B3"/>
              </a:solidFill>
              <a:round/>
              <a:headEnd/>
              <a:tailEnd/>
            </a:ln>
            <a:effectLst>
              <a:outerShdw dist="63500" dir="2700000" algn="ctr" rotWithShape="0">
                <a:schemeClr val="bg2">
                  <a:alpha val="29999"/>
                </a:scheme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>
                <a:latin typeface="Gill Sans" pitchFamily="80" charset="0"/>
                <a:ea typeface="ヒラギノ角ゴ Pro W3" pitchFamily="80" charset="-128"/>
                <a:sym typeface="Gill Sans" pitchFamily="80" charset="0"/>
              </a:endParaRPr>
            </a:p>
          </p:txBody>
        </p:sp>
        <p:sp>
          <p:nvSpPr>
            <p:cNvPr id="65558" name="Rectangle 3"/>
            <p:cNvSpPr>
              <a:spLocks/>
            </p:cNvSpPr>
            <p:nvPr/>
          </p:nvSpPr>
          <p:spPr bwMode="auto">
            <a:xfrm>
              <a:off x="96" y="392"/>
              <a:ext cx="1768" cy="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buClr>
                  <a:srgbClr val="B3B3B3"/>
                </a:buClr>
                <a:buSzPct val="125000"/>
                <a:buFont typeface="Lucida Grande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B3B3B3"/>
                  </a:solidFill>
                </a:rPr>
                <a:t>Product owner</a:t>
              </a:r>
            </a:p>
            <a:p>
              <a:pPr>
                <a:buClr>
                  <a:srgbClr val="B3B3B3"/>
                </a:buClr>
                <a:buSzPct val="125000"/>
                <a:buFont typeface="Lucida Grande" pitchFamily="1" charset="0"/>
                <a:buChar char="•"/>
                <a:tabLst>
                  <a:tab pos="960120" algn="l"/>
                </a:tabLst>
              </a:pPr>
              <a:r>
                <a:rPr lang="en-US" sz="2500" dirty="0" err="1">
                  <a:solidFill>
                    <a:srgbClr val="B3B3B3"/>
                  </a:solidFill>
                </a:rPr>
                <a:t>ScrumMaster</a:t>
              </a:r>
              <a:endParaRPr lang="en-US" sz="2500" dirty="0">
                <a:solidFill>
                  <a:srgbClr val="B3B3B3"/>
                </a:solidFill>
              </a:endParaRPr>
            </a:p>
            <a:p>
              <a:pPr>
                <a:buClr>
                  <a:srgbClr val="B3B3B3"/>
                </a:buClr>
                <a:buSzPct val="125000"/>
                <a:buFont typeface="Lucida Grande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B3B3B3"/>
                  </a:solidFill>
                </a:rPr>
                <a:t>Team</a:t>
              </a:r>
            </a:p>
          </p:txBody>
        </p:sp>
        <p:sp>
          <p:nvSpPr>
            <p:cNvPr id="65559" name="Rectangle 4"/>
            <p:cNvSpPr>
              <a:spLocks/>
            </p:cNvSpPr>
            <p:nvPr/>
          </p:nvSpPr>
          <p:spPr bwMode="auto">
            <a:xfrm>
              <a:off x="304" y="0"/>
              <a:ext cx="1200" cy="376"/>
            </a:xfrm>
            <a:prstGeom prst="rect">
              <a:avLst/>
            </a:pr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560" name="AutoShape 5"/>
            <p:cNvSpPr>
              <a:spLocks/>
            </p:cNvSpPr>
            <p:nvPr/>
          </p:nvSpPr>
          <p:spPr bwMode="auto">
            <a:xfrm rot="10800000">
              <a:off x="1432" y="88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561" name="AutoShape 6"/>
            <p:cNvSpPr>
              <a:spLocks/>
            </p:cNvSpPr>
            <p:nvPr/>
          </p:nvSpPr>
          <p:spPr bwMode="auto">
            <a:xfrm>
              <a:off x="0" y="0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562" name="Rectangle 7"/>
            <p:cNvSpPr>
              <a:spLocks/>
            </p:cNvSpPr>
            <p:nvPr/>
          </p:nvSpPr>
          <p:spPr bwMode="auto">
            <a:xfrm>
              <a:off x="0" y="216"/>
              <a:ext cx="392" cy="160"/>
            </a:xfrm>
            <a:prstGeom prst="rect">
              <a:avLst/>
            </a:pr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563" name="Rectangle 8"/>
            <p:cNvSpPr>
              <a:spLocks/>
            </p:cNvSpPr>
            <p:nvPr/>
          </p:nvSpPr>
          <p:spPr bwMode="auto">
            <a:xfrm>
              <a:off x="1352" y="0"/>
              <a:ext cx="392" cy="160"/>
            </a:xfrm>
            <a:prstGeom prst="rect">
              <a:avLst/>
            </a:pr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564" name="Rectangle 9"/>
            <p:cNvSpPr>
              <a:spLocks/>
            </p:cNvSpPr>
            <p:nvPr/>
          </p:nvSpPr>
          <p:spPr bwMode="auto">
            <a:xfrm>
              <a:off x="104" y="8"/>
              <a:ext cx="1336" cy="3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tabLst>
                  <a:tab pos="960120" algn="l"/>
                </a:tabLst>
              </a:pPr>
              <a:r>
                <a:rPr lang="en-US" dirty="0">
                  <a:solidFill>
                    <a:srgbClr val="FFFFFF"/>
                  </a:solidFill>
                </a:rPr>
                <a:t>Roles</a:t>
              </a:r>
            </a:p>
          </p:txBody>
        </p:sp>
      </p:grpSp>
      <p:sp>
        <p:nvSpPr>
          <p:cNvPr id="34819" name="Rectangle 10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>
              <a:defRPr/>
            </a:pPr>
            <a:r>
              <a:rPr lang="en-US" sz="2800" dirty="0">
                <a:sym typeface="Gill Sans" charset="0"/>
              </a:rPr>
              <a:t>Scrum framework</a:t>
            </a:r>
          </a:p>
        </p:txBody>
      </p:sp>
      <p:grpSp>
        <p:nvGrpSpPr>
          <p:cNvPr id="5" name="Group 11"/>
          <p:cNvGrpSpPr>
            <a:grpSpLocks/>
          </p:cNvGrpSpPr>
          <p:nvPr/>
        </p:nvGrpSpPr>
        <p:grpSpPr bwMode="auto">
          <a:xfrm>
            <a:off x="2846070" y="2423160"/>
            <a:ext cx="3726180" cy="2274570"/>
            <a:chOff x="0" y="0"/>
            <a:chExt cx="2608" cy="1592"/>
          </a:xfrm>
        </p:grpSpPr>
        <p:sp>
          <p:nvSpPr>
            <p:cNvPr id="3" name="AutoShape 12"/>
            <p:cNvSpPr>
              <a:spLocks/>
            </p:cNvSpPr>
            <p:nvPr/>
          </p:nvSpPr>
          <p:spPr bwMode="auto">
            <a:xfrm>
              <a:off x="8" y="0"/>
              <a:ext cx="2600" cy="1592"/>
            </a:xfrm>
            <a:prstGeom prst="roundRect">
              <a:avLst>
                <a:gd name="adj" fmla="val 12060"/>
              </a:avLst>
            </a:prstGeom>
            <a:solidFill>
              <a:srgbClr val="E6E6E6"/>
            </a:solidFill>
            <a:ln w="25400">
              <a:solidFill>
                <a:srgbClr val="B3B3B3"/>
              </a:solidFill>
              <a:round/>
              <a:headEnd/>
              <a:tailEnd/>
            </a:ln>
            <a:effectLst>
              <a:outerShdw dist="63500" dir="2700000" algn="ctr" rotWithShape="0">
                <a:schemeClr val="bg2">
                  <a:alpha val="29999"/>
                </a:scheme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>
                <a:latin typeface="Gill Sans" pitchFamily="80" charset="0"/>
                <a:ea typeface="ヒラギノ角ゴ Pro W3" pitchFamily="80" charset="-128"/>
                <a:sym typeface="Gill Sans" pitchFamily="80" charset="0"/>
              </a:endParaRPr>
            </a:p>
          </p:txBody>
        </p:sp>
        <p:sp>
          <p:nvSpPr>
            <p:cNvPr id="65550" name="Rectangle 13"/>
            <p:cNvSpPr>
              <a:spLocks/>
            </p:cNvSpPr>
            <p:nvPr/>
          </p:nvSpPr>
          <p:spPr bwMode="auto">
            <a:xfrm>
              <a:off x="96" y="392"/>
              <a:ext cx="2320" cy="10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buClr>
                  <a:srgbClr val="B3B3B3"/>
                </a:buClr>
                <a:buSzPct val="125000"/>
                <a:buFont typeface="Lucida Grande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B3B3B3"/>
                  </a:solidFill>
                </a:rPr>
                <a:t>Sprint planning</a:t>
              </a:r>
            </a:p>
            <a:p>
              <a:pPr>
                <a:buClr>
                  <a:srgbClr val="B3B3B3"/>
                </a:buClr>
                <a:buSzPct val="125000"/>
                <a:buFont typeface="Lucida Grande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B3B3B3"/>
                  </a:solidFill>
                </a:rPr>
                <a:t>Sprint review</a:t>
              </a:r>
            </a:p>
            <a:p>
              <a:pPr>
                <a:buClr>
                  <a:srgbClr val="B3B3B3"/>
                </a:buClr>
                <a:buSzPct val="125000"/>
                <a:buFont typeface="Lucida Grande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B3B3B3"/>
                  </a:solidFill>
                </a:rPr>
                <a:t>Sprint retrospective</a:t>
              </a:r>
            </a:p>
            <a:p>
              <a:pPr>
                <a:buClr>
                  <a:srgbClr val="B3B3B3"/>
                </a:buClr>
                <a:buSzPct val="125000"/>
                <a:buFont typeface="Lucida Grande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B3B3B3"/>
                  </a:solidFill>
                </a:rPr>
                <a:t>Daily scrum meeting</a:t>
              </a:r>
            </a:p>
          </p:txBody>
        </p:sp>
        <p:sp>
          <p:nvSpPr>
            <p:cNvPr id="65551" name="Rectangle 14"/>
            <p:cNvSpPr>
              <a:spLocks/>
            </p:cNvSpPr>
            <p:nvPr/>
          </p:nvSpPr>
          <p:spPr bwMode="auto">
            <a:xfrm>
              <a:off x="304" y="0"/>
              <a:ext cx="1200" cy="376"/>
            </a:xfrm>
            <a:prstGeom prst="rect">
              <a:avLst/>
            </a:pr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552" name="AutoShape 15"/>
            <p:cNvSpPr>
              <a:spLocks/>
            </p:cNvSpPr>
            <p:nvPr/>
          </p:nvSpPr>
          <p:spPr bwMode="auto">
            <a:xfrm rot="10800000">
              <a:off x="1432" y="88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553" name="AutoShape 16"/>
            <p:cNvSpPr>
              <a:spLocks/>
            </p:cNvSpPr>
            <p:nvPr/>
          </p:nvSpPr>
          <p:spPr bwMode="auto">
            <a:xfrm>
              <a:off x="0" y="0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554" name="Rectangle 17"/>
            <p:cNvSpPr>
              <a:spLocks/>
            </p:cNvSpPr>
            <p:nvPr/>
          </p:nvSpPr>
          <p:spPr bwMode="auto">
            <a:xfrm>
              <a:off x="0" y="216"/>
              <a:ext cx="392" cy="160"/>
            </a:xfrm>
            <a:prstGeom prst="rect">
              <a:avLst/>
            </a:pr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555" name="Rectangle 18"/>
            <p:cNvSpPr>
              <a:spLocks/>
            </p:cNvSpPr>
            <p:nvPr/>
          </p:nvSpPr>
          <p:spPr bwMode="auto">
            <a:xfrm>
              <a:off x="1352" y="0"/>
              <a:ext cx="392" cy="160"/>
            </a:xfrm>
            <a:prstGeom prst="rect">
              <a:avLst/>
            </a:pr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556" name="Rectangle 19"/>
            <p:cNvSpPr>
              <a:spLocks/>
            </p:cNvSpPr>
            <p:nvPr/>
          </p:nvSpPr>
          <p:spPr bwMode="auto">
            <a:xfrm>
              <a:off x="104" y="8"/>
              <a:ext cx="1640" cy="352"/>
            </a:xfrm>
            <a:prstGeom prst="rect">
              <a:avLst/>
            </a:prstGeom>
            <a:solidFill>
              <a:srgbClr val="B3B3B3"/>
            </a:solidFill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tabLst>
                  <a:tab pos="960120" algn="l"/>
                </a:tabLst>
              </a:pPr>
              <a:r>
                <a:rPr lang="en-US" dirty="0">
                  <a:solidFill>
                    <a:srgbClr val="FFFFFF"/>
                  </a:solidFill>
                </a:rPr>
                <a:t>Ceremonies</a:t>
              </a:r>
            </a:p>
          </p:txBody>
        </p:sp>
      </p:grpSp>
      <p:grpSp>
        <p:nvGrpSpPr>
          <p:cNvPr id="6" name="Group 20"/>
          <p:cNvGrpSpPr>
            <a:grpSpLocks/>
          </p:cNvGrpSpPr>
          <p:nvPr/>
        </p:nvGrpSpPr>
        <p:grpSpPr bwMode="auto">
          <a:xfrm>
            <a:off x="4594860" y="4594860"/>
            <a:ext cx="3726180" cy="1840230"/>
            <a:chOff x="0" y="0"/>
            <a:chExt cx="2608" cy="1288"/>
          </a:xfrm>
        </p:grpSpPr>
        <p:sp>
          <p:nvSpPr>
            <p:cNvPr id="34837" name="AutoShape 21"/>
            <p:cNvSpPr>
              <a:spLocks/>
            </p:cNvSpPr>
            <p:nvPr/>
          </p:nvSpPr>
          <p:spPr bwMode="auto">
            <a:xfrm>
              <a:off x="8" y="0"/>
              <a:ext cx="2600" cy="1288"/>
            </a:xfrm>
            <a:prstGeom prst="roundRect">
              <a:avLst>
                <a:gd name="adj" fmla="val 14903"/>
              </a:avLst>
            </a:prstGeom>
            <a:blipFill dpi="0" rotWithShape="0">
              <a:blip r:embed="rId3" cstate="print"/>
              <a:srcRect/>
              <a:tile tx="0" ty="0" sx="100000" sy="100000" flip="none" algn="tl"/>
            </a:blipFill>
            <a:ln w="25400">
              <a:solidFill>
                <a:srgbClr val="003C83"/>
              </a:solidFill>
              <a:round/>
              <a:headEnd/>
              <a:tailEnd/>
            </a:ln>
            <a:effectLst>
              <a:outerShdw dist="63500" dir="2700000" algn="ctr" rotWithShape="0">
                <a:schemeClr val="bg2">
                  <a:alpha val="29999"/>
                </a:scheme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>
                <a:latin typeface="Gill Sans" pitchFamily="80" charset="0"/>
                <a:ea typeface="ヒラギノ角ゴ Pro W3" pitchFamily="80" charset="-128"/>
                <a:sym typeface="Gill Sans" pitchFamily="80" charset="0"/>
              </a:endParaRPr>
            </a:p>
          </p:txBody>
        </p:sp>
        <p:sp>
          <p:nvSpPr>
            <p:cNvPr id="65542" name="Rectangle 22"/>
            <p:cNvSpPr>
              <a:spLocks/>
            </p:cNvSpPr>
            <p:nvPr/>
          </p:nvSpPr>
          <p:spPr bwMode="auto">
            <a:xfrm>
              <a:off x="96" y="392"/>
              <a:ext cx="2376" cy="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FFFFFF"/>
                  </a:solidFill>
                </a:rPr>
                <a:t>Product backlog</a:t>
              </a:r>
            </a:p>
            <a:p>
              <a:pPr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FFFFFF"/>
                  </a:solidFill>
                </a:rPr>
                <a:t>Sprint backlog</a:t>
              </a:r>
            </a:p>
            <a:p>
              <a:pPr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500" dirty="0" err="1">
                  <a:solidFill>
                    <a:srgbClr val="FFFFFF"/>
                  </a:solidFill>
                </a:rPr>
                <a:t>Burndown</a:t>
              </a:r>
              <a:r>
                <a:rPr lang="en-US" sz="2500" dirty="0">
                  <a:solidFill>
                    <a:srgbClr val="FFFFFF"/>
                  </a:solidFill>
                </a:rPr>
                <a:t> charts</a:t>
              </a:r>
            </a:p>
          </p:txBody>
        </p:sp>
        <p:sp>
          <p:nvSpPr>
            <p:cNvPr id="65543" name="Rectangle 23"/>
            <p:cNvSpPr>
              <a:spLocks/>
            </p:cNvSpPr>
            <p:nvPr/>
          </p:nvSpPr>
          <p:spPr bwMode="auto">
            <a:xfrm>
              <a:off x="304" y="0"/>
              <a:ext cx="1200" cy="376"/>
            </a:xfrm>
            <a:prstGeom prst="rect">
              <a:avLst/>
            </a:pr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544" name="AutoShape 24"/>
            <p:cNvSpPr>
              <a:spLocks/>
            </p:cNvSpPr>
            <p:nvPr/>
          </p:nvSpPr>
          <p:spPr bwMode="auto">
            <a:xfrm rot="10800000">
              <a:off x="1432" y="88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545" name="AutoShape 25"/>
            <p:cNvSpPr>
              <a:spLocks/>
            </p:cNvSpPr>
            <p:nvPr/>
          </p:nvSpPr>
          <p:spPr bwMode="auto">
            <a:xfrm>
              <a:off x="0" y="0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546" name="Rectangle 26"/>
            <p:cNvSpPr>
              <a:spLocks/>
            </p:cNvSpPr>
            <p:nvPr/>
          </p:nvSpPr>
          <p:spPr bwMode="auto">
            <a:xfrm>
              <a:off x="0" y="216"/>
              <a:ext cx="392" cy="160"/>
            </a:xfrm>
            <a:prstGeom prst="rect">
              <a:avLst/>
            </a:pr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547" name="Rectangle 27"/>
            <p:cNvSpPr>
              <a:spLocks/>
            </p:cNvSpPr>
            <p:nvPr/>
          </p:nvSpPr>
          <p:spPr bwMode="auto">
            <a:xfrm>
              <a:off x="1352" y="0"/>
              <a:ext cx="392" cy="160"/>
            </a:xfrm>
            <a:prstGeom prst="rect">
              <a:avLst/>
            </a:pr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548" name="Rectangle 28"/>
            <p:cNvSpPr>
              <a:spLocks/>
            </p:cNvSpPr>
            <p:nvPr/>
          </p:nvSpPr>
          <p:spPr bwMode="auto">
            <a:xfrm>
              <a:off x="104" y="8"/>
              <a:ext cx="1336" cy="3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tabLst>
                  <a:tab pos="960120" algn="l"/>
                </a:tabLst>
              </a:pPr>
              <a:r>
                <a:rPr lang="en-US" dirty="0">
                  <a:solidFill>
                    <a:srgbClr val="FFFFFF"/>
                  </a:solidFill>
                </a:rPr>
                <a:t>Artifacts</a:t>
              </a:r>
            </a:p>
          </p:txBody>
        </p:sp>
      </p:grpSp>
    </p:spTree>
  </p:cSld>
  <p:clrMapOvr>
    <a:masterClrMapping/>
  </p:clrMapOvr>
  <p:transition spd="med">
    <p:pull dir="r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11113"/>
            <a:ext cx="9144000" cy="1001713"/>
          </a:xfrm>
        </p:spPr>
        <p:txBody>
          <a:bodyPr/>
          <a:lstStyle/>
          <a:p>
            <a:pPr algn="l"/>
            <a:r>
              <a:rPr lang="en-US" sz="2800" dirty="0">
                <a:solidFill>
                  <a:schemeClr val="tx2">
                    <a:lumMod val="50000"/>
                  </a:schemeClr>
                </a:solidFill>
              </a:rPr>
              <a:t/>
            </a:r>
            <a:br>
              <a:rPr lang="en-US" sz="2800" dirty="0">
                <a:solidFill>
                  <a:schemeClr val="tx2">
                    <a:lumMod val="50000"/>
                  </a:schemeClr>
                </a:solidFill>
              </a:rPr>
            </a:br>
            <a:r>
              <a:rPr lang="en-US" sz="2800" dirty="0">
                <a:solidFill>
                  <a:schemeClr val="accent1"/>
                </a:solidFill>
              </a:rPr>
              <a:t>	Requirement</a:t>
            </a:r>
          </a:p>
        </p:txBody>
      </p:sp>
      <p:pic>
        <p:nvPicPr>
          <p:cNvPr id="1026" name="Picture 2" descr="D:\Users\vivsinha\Desktop\images 1\antiarchitecture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09600" y="1066800"/>
            <a:ext cx="7684476" cy="499491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8349896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1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>
              <a:defRPr/>
            </a:pPr>
            <a:r>
              <a:rPr lang="en-US" sz="2800" dirty="0">
                <a:sym typeface="Gill Sans" charset="0"/>
              </a:rPr>
              <a:t>Product backlog</a:t>
            </a:r>
          </a:p>
        </p:txBody>
      </p:sp>
      <p:sp>
        <p:nvSpPr>
          <p:cNvPr id="35843" name="Rectangle 2"/>
          <p:cNvSpPr>
            <a:spLocks noGrp="1" noChangeArrowheads="1"/>
          </p:cNvSpPr>
          <p:nvPr>
            <p:ph idx="1"/>
          </p:nvPr>
        </p:nvSpPr>
        <p:spPr>
          <a:xfrm>
            <a:off x="4034790" y="1565910"/>
            <a:ext cx="4937760" cy="4766310"/>
          </a:xfrm>
        </p:spPr>
        <p:txBody>
          <a:bodyPr/>
          <a:lstStyle/>
          <a:p>
            <a:pPr marL="494348" indent="-265748">
              <a:lnSpc>
                <a:spcPct val="80000"/>
              </a:lnSpc>
              <a:buFont typeface="Lucida Grande" charset="0"/>
              <a:buChar char="•"/>
              <a:tabLst>
                <a:tab pos="1068705" algn="l"/>
              </a:tabLst>
              <a:defRPr/>
            </a:pPr>
            <a:r>
              <a:rPr lang="en-US" sz="2700" dirty="0">
                <a:sym typeface="Gill Sans" charset="0"/>
              </a:rPr>
              <a:t>The requirements</a:t>
            </a:r>
          </a:p>
          <a:p>
            <a:pPr marL="494348" indent="-265748">
              <a:lnSpc>
                <a:spcPct val="80000"/>
              </a:lnSpc>
              <a:spcBef>
                <a:spcPts val="1260"/>
              </a:spcBef>
              <a:buFont typeface="Lucida Grande" charset="0"/>
              <a:buChar char="•"/>
              <a:tabLst>
                <a:tab pos="1068705" algn="l"/>
              </a:tabLst>
              <a:defRPr/>
            </a:pPr>
            <a:r>
              <a:rPr lang="en-US" sz="2700" dirty="0">
                <a:sym typeface="Gill Sans" charset="0"/>
              </a:rPr>
              <a:t>A list of all desired work on the project</a:t>
            </a:r>
          </a:p>
          <a:p>
            <a:pPr marL="494348" indent="-265748">
              <a:lnSpc>
                <a:spcPct val="80000"/>
              </a:lnSpc>
              <a:spcBef>
                <a:spcPts val="1260"/>
              </a:spcBef>
              <a:buFont typeface="Lucida Grande" charset="0"/>
              <a:buChar char="•"/>
              <a:tabLst>
                <a:tab pos="1068705" algn="l"/>
              </a:tabLst>
              <a:defRPr/>
            </a:pPr>
            <a:r>
              <a:rPr lang="en-US" sz="2700" dirty="0">
                <a:sym typeface="Gill Sans" charset="0"/>
              </a:rPr>
              <a:t>Ideally expressed such that each item has value to the users or customers of the product </a:t>
            </a:r>
          </a:p>
          <a:p>
            <a:pPr marL="494348" indent="-265748">
              <a:lnSpc>
                <a:spcPct val="80000"/>
              </a:lnSpc>
              <a:spcBef>
                <a:spcPts val="1260"/>
              </a:spcBef>
              <a:buFont typeface="Lucida Grande" charset="0"/>
              <a:buChar char="•"/>
              <a:tabLst>
                <a:tab pos="1068705" algn="l"/>
              </a:tabLst>
              <a:defRPr/>
            </a:pPr>
            <a:r>
              <a:rPr lang="en-US" sz="2700" dirty="0">
                <a:sym typeface="Gill Sans" charset="0"/>
              </a:rPr>
              <a:t>Prioritized by the product owner</a:t>
            </a:r>
          </a:p>
          <a:p>
            <a:pPr marL="494348" indent="-265748">
              <a:lnSpc>
                <a:spcPct val="80000"/>
              </a:lnSpc>
              <a:spcBef>
                <a:spcPts val="1260"/>
              </a:spcBef>
              <a:buFont typeface="Lucida Grande" charset="0"/>
              <a:buChar char="•"/>
              <a:tabLst>
                <a:tab pos="1068705" algn="l"/>
              </a:tabLst>
              <a:defRPr/>
            </a:pPr>
            <a:r>
              <a:rPr lang="en-US" sz="2700" dirty="0">
                <a:sym typeface="Gill Sans" charset="0"/>
              </a:rPr>
              <a:t>Reprioritized at the start of each sprint</a:t>
            </a:r>
          </a:p>
        </p:txBody>
      </p:sp>
      <p:pic>
        <p:nvPicPr>
          <p:cNvPr id="67587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7170" y="2988945"/>
            <a:ext cx="4046220" cy="16744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Rectangle 4"/>
          <p:cNvSpPr>
            <a:spLocks/>
          </p:cNvSpPr>
          <p:nvPr/>
        </p:nvSpPr>
        <p:spPr bwMode="auto">
          <a:xfrm>
            <a:off x="1428750" y="5349240"/>
            <a:ext cx="2526030" cy="914400"/>
          </a:xfrm>
          <a:prstGeom prst="rect">
            <a:avLst/>
          </a:prstGeom>
          <a:blipFill dpi="0" rotWithShape="0">
            <a:blip r:embed="rId4" cstate="print"/>
            <a:srcRect/>
            <a:tile tx="0" ty="0" sx="100000" sy="100000" flip="none" algn="tl"/>
          </a:blipFill>
          <a:ln w="25400">
            <a:solidFill>
              <a:srgbClr val="003C83"/>
            </a:solidFill>
            <a:miter lim="800000"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0" tIns="0" rIns="0" bIns="0" anchor="ctr"/>
          <a:lstStyle/>
          <a:p>
            <a:pPr>
              <a:tabLst>
                <a:tab pos="960120" algn="l"/>
              </a:tabLst>
              <a:defRPr/>
            </a:pPr>
            <a:r>
              <a:rPr lang="en-US" sz="2800" dirty="0">
                <a:solidFill>
                  <a:srgbClr val="FFFFFF"/>
                </a:solidFill>
                <a:latin typeface="Gill Sans" pitchFamily="80" charset="0"/>
                <a:ea typeface="Gill Sans" pitchFamily="80" charset="0"/>
                <a:cs typeface="Gill Sans" pitchFamily="80" charset="0"/>
                <a:sym typeface="Gill Sans" pitchFamily="80" charset="0"/>
              </a:rPr>
              <a:t>This is the product backlog</a:t>
            </a:r>
          </a:p>
        </p:txBody>
      </p:sp>
      <p:sp>
        <p:nvSpPr>
          <p:cNvPr id="67589" name="Line 5"/>
          <p:cNvSpPr>
            <a:spLocks noChangeShapeType="1"/>
          </p:cNvSpPr>
          <p:nvPr/>
        </p:nvSpPr>
        <p:spPr bwMode="auto">
          <a:xfrm>
            <a:off x="982980" y="4137660"/>
            <a:ext cx="387192" cy="1371600"/>
          </a:xfrm>
          <a:prstGeom prst="line">
            <a:avLst/>
          </a:prstGeom>
          <a:noFill/>
          <a:ln w="38100">
            <a:solidFill>
              <a:srgbClr val="033F7F"/>
            </a:solidFill>
            <a:round/>
            <a:headEnd type="stealth" w="med" len="med"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</p:spTree>
  </p:cSld>
  <p:clrMapOvr>
    <a:masterClrMapping/>
  </p:clrMapOvr>
  <p:transition spd="med">
    <p:wip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Group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9754156"/>
              </p:ext>
            </p:extLst>
          </p:nvPr>
        </p:nvGraphicFramePr>
        <p:xfrm>
          <a:off x="650011" y="1035425"/>
          <a:ext cx="7596066" cy="5299077"/>
        </p:xfrm>
        <a:graphic>
          <a:graphicData uri="http://schemas.openxmlformats.org/drawingml/2006/table">
            <a:tbl>
              <a:tblPr/>
              <a:tblGrid>
                <a:gridCol w="570196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89410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763588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tabLst>
                          <a:tab pos="10668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tabLst>
                          <a:tab pos="10668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tabLst>
                          <a:tab pos="1066800" algn="l"/>
                        </a:tabLst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tabLst>
                          <a:tab pos="10668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tabLst>
                          <a:tab pos="10668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10668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10668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10668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10668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1066800" algn="l"/>
                        </a:tabLst>
                      </a:pPr>
                      <a:r>
                        <a:rPr kumimoji="0" lang="en-US" altLang="en-US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ahoma" pitchFamily="34" charset="0"/>
                        </a:rPr>
                        <a:t>Backlog item</a:t>
                      </a:r>
                    </a:p>
                  </a:txBody>
                  <a:tcPr marL="32652" marR="32652" marT="34294" marB="34294" anchor="ctr" horzOverflow="overflow">
                    <a:lnL w="25400" cap="flat" cmpd="sng" algn="ctr">
                      <a:solidFill>
                        <a:srgbClr val="003C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3C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3C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3C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C88DC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tabLst>
                          <a:tab pos="10668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tabLst>
                          <a:tab pos="10668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tabLst>
                          <a:tab pos="1066800" algn="l"/>
                        </a:tabLst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tabLst>
                          <a:tab pos="10668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tabLst>
                          <a:tab pos="10668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10668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10668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10668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10668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1066800" algn="l"/>
                        </a:tabLst>
                      </a:pPr>
                      <a:r>
                        <a:rPr kumimoji="0" lang="en-US" altLang="en-US" sz="24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ahoma" pitchFamily="34" charset="0"/>
                        </a:rPr>
                        <a:t>Estimate</a:t>
                      </a:r>
                    </a:p>
                  </a:txBody>
                  <a:tcPr marL="32652" marR="32652" marT="34294" marB="34294" anchor="ctr" horzOverflow="overflow">
                    <a:lnL w="25400" cap="flat" cmpd="sng" algn="ctr">
                      <a:solidFill>
                        <a:srgbClr val="003C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3C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3C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3C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C88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20700">
                <a:tc>
                  <a:txBody>
                    <a:bodyPr/>
                    <a:lstStyle>
                      <a:lvl1pPr marL="1143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1143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alt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Allow a guest to make a reservation</a:t>
                      </a:r>
                    </a:p>
                  </a:txBody>
                  <a:tcPr marL="32652" marR="32652" marT="34294" marB="34294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3C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alt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3 (story points)</a:t>
                      </a:r>
                    </a:p>
                  </a:txBody>
                  <a:tcPr marL="32652" marR="32652" marT="34294" marB="34294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3C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836613">
                <a:tc>
                  <a:txBody>
                    <a:bodyPr/>
                    <a:lstStyle>
                      <a:lvl1pPr marL="1143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1143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alt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As a guest, I want to cancel a reservation.</a:t>
                      </a:r>
                    </a:p>
                  </a:txBody>
                  <a:tcPr marL="32652" marR="32652" marT="34294" marB="34294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alt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5</a:t>
                      </a:r>
                    </a:p>
                  </a:txBody>
                  <a:tcPr marL="32652" marR="32652" marT="34294" marB="34294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852488">
                <a:tc>
                  <a:txBody>
                    <a:bodyPr/>
                    <a:lstStyle>
                      <a:lvl1pPr marL="1143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1143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alt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As a guest, I want to change the dates of a reservation.</a:t>
                      </a:r>
                    </a:p>
                  </a:txBody>
                  <a:tcPr marL="32652" marR="32652" marT="34294" marB="34294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alt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3</a:t>
                      </a:r>
                    </a:p>
                  </a:txBody>
                  <a:tcPr marL="32652" marR="32652" marT="34294" marB="34294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850900">
                <a:tc>
                  <a:txBody>
                    <a:bodyPr/>
                    <a:lstStyle>
                      <a:lvl1pPr marL="1143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1143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alt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As a hotel employee, I can run Revenue reports</a:t>
                      </a:r>
                    </a:p>
                  </a:txBody>
                  <a:tcPr marL="32652" marR="32652" marT="34294" marB="34294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alt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8</a:t>
                      </a:r>
                    </a:p>
                  </a:txBody>
                  <a:tcPr marL="32652" marR="32652" marT="34294" marB="34294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514350">
                <a:tc>
                  <a:txBody>
                    <a:bodyPr/>
                    <a:lstStyle>
                      <a:lvl1pPr marL="1143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1143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alt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Improve exception handling</a:t>
                      </a:r>
                    </a:p>
                  </a:txBody>
                  <a:tcPr marL="32652" marR="32652" marT="34294" marB="34294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alt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8</a:t>
                      </a:r>
                    </a:p>
                  </a:txBody>
                  <a:tcPr marL="32652" marR="32652" marT="34294" marB="34294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81013">
                <a:tc>
                  <a:txBody>
                    <a:bodyPr/>
                    <a:lstStyle>
                      <a:lvl1pPr marL="1143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1143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alt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...</a:t>
                      </a:r>
                    </a:p>
                  </a:txBody>
                  <a:tcPr marL="32652" marR="32652" marT="34294" marB="34294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alt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30</a:t>
                      </a:r>
                    </a:p>
                  </a:txBody>
                  <a:tcPr marL="32652" marR="32652" marT="34294" marB="34294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79425">
                <a:tc>
                  <a:txBody>
                    <a:bodyPr/>
                    <a:lstStyle>
                      <a:lvl1pPr marL="1143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1143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alt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...</a:t>
                      </a:r>
                    </a:p>
                  </a:txBody>
                  <a:tcPr marL="32652" marR="32652" marT="34294" marB="34294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alt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50</a:t>
                      </a:r>
                    </a:p>
                  </a:txBody>
                  <a:tcPr marL="32652" marR="32652" marT="34294" marB="34294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  <p:sp>
        <p:nvSpPr>
          <p:cNvPr id="5" name="Rectangle 1"/>
          <p:cNvSpPr txBox="1">
            <a:spLocks noChangeArrowheads="1"/>
          </p:cNvSpPr>
          <p:nvPr/>
        </p:nvSpPr>
        <p:spPr bwMode="auto">
          <a:xfrm>
            <a:off x="326518" y="127747"/>
            <a:ext cx="9009462" cy="106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+mj-lt"/>
                <a:ea typeface="+mj-ea"/>
                <a:cs typeface="ヒラギノ角ゴ Pro W3" charset="0"/>
                <a:sym typeface="Gill Sans" pitchFamily="1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0" cap="none" spc="0" normalizeH="0" baseline="0" noProof="0" dirty="0">
                <a:ln>
                  <a:noFill/>
                </a:ln>
                <a:solidFill>
                  <a:srgbClr val="5F7BAE"/>
                </a:solidFill>
                <a:effectLst/>
                <a:uLnTx/>
                <a:uFillTx/>
                <a:sym typeface="Gill Sans" charset="0"/>
              </a:rPr>
              <a:t>Sample Product Backlog</a:t>
            </a:r>
          </a:p>
        </p:txBody>
      </p:sp>
    </p:spTree>
    <p:extLst>
      <p:ext uri="{BB962C8B-B14F-4D97-AF65-F5344CB8AC3E}">
        <p14:creationId xmlns:p14="http://schemas.microsoft.com/office/powerpoint/2010/main" val="269418830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1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>
              <a:defRPr/>
            </a:pPr>
            <a:r>
              <a:rPr lang="en-US" sz="3200" dirty="0">
                <a:sym typeface="Gill Sans" charset="0"/>
              </a:rPr>
              <a:t>The sprint goal</a:t>
            </a:r>
          </a:p>
        </p:txBody>
      </p:sp>
      <p:sp>
        <p:nvSpPr>
          <p:cNvPr id="37891" name="Rectangle 2"/>
          <p:cNvSpPr>
            <a:spLocks noGrp="1" noChangeArrowheads="1"/>
          </p:cNvSpPr>
          <p:nvPr>
            <p:ph idx="1"/>
          </p:nvPr>
        </p:nvSpPr>
        <p:spPr>
          <a:xfrm>
            <a:off x="308610" y="1303020"/>
            <a:ext cx="8515350" cy="1131570"/>
          </a:xfrm>
        </p:spPr>
        <p:txBody>
          <a:bodyPr/>
          <a:lstStyle/>
          <a:p>
            <a:pPr marL="628650"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A short statement of what the work will be focused on during the sprint</a:t>
            </a:r>
          </a:p>
        </p:txBody>
      </p:sp>
      <p:sp>
        <p:nvSpPr>
          <p:cNvPr id="2" name="AutoShape 3"/>
          <p:cNvSpPr>
            <a:spLocks/>
          </p:cNvSpPr>
          <p:nvPr/>
        </p:nvSpPr>
        <p:spPr bwMode="auto">
          <a:xfrm>
            <a:off x="308610" y="3371850"/>
            <a:ext cx="4411980" cy="2183130"/>
          </a:xfrm>
          <a:prstGeom prst="roundRect">
            <a:avLst>
              <a:gd name="adj" fmla="val 15685"/>
            </a:avLst>
          </a:prstGeom>
          <a:blipFill dpi="0" rotWithShape="0">
            <a:blip r:embed="rId3" cstate="print"/>
            <a:srcRect/>
            <a:tile tx="0" ty="0" sx="100000" sy="100000" flip="none" algn="tl"/>
          </a:blipFill>
          <a:ln w="25400">
            <a:solidFill>
              <a:srgbClr val="003C83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82296" tIns="41148" rIns="82296" bIns="41148"/>
          <a:lstStyle/>
          <a:p>
            <a:pPr>
              <a:defRPr/>
            </a:pPr>
            <a:endParaRPr lang="en-US">
              <a:latin typeface="Gill Sans" pitchFamily="80" charset="0"/>
              <a:ea typeface="ヒラギノ角ゴ Pro W3" pitchFamily="80" charset="-128"/>
              <a:sym typeface="Gill Sans" pitchFamily="80" charset="0"/>
            </a:endParaRPr>
          </a:p>
        </p:txBody>
      </p:sp>
      <p:sp>
        <p:nvSpPr>
          <p:cNvPr id="71684" name="Rectangle 4"/>
          <p:cNvSpPr>
            <a:spLocks/>
          </p:cNvSpPr>
          <p:nvPr/>
        </p:nvSpPr>
        <p:spPr bwMode="auto">
          <a:xfrm>
            <a:off x="742950" y="3371850"/>
            <a:ext cx="2343150" cy="411480"/>
          </a:xfrm>
          <a:prstGeom prst="rect">
            <a:avLst/>
          </a:prstGeom>
          <a:solidFill>
            <a:srgbClr val="003C83"/>
          </a:solidFill>
          <a:ln w="25400">
            <a:noFill/>
            <a:miter lim="800000"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71685" name="AutoShape 5"/>
          <p:cNvSpPr>
            <a:spLocks/>
          </p:cNvSpPr>
          <p:nvPr/>
        </p:nvSpPr>
        <p:spPr bwMode="auto">
          <a:xfrm rot="10800000">
            <a:off x="2994660" y="3371850"/>
            <a:ext cx="445770" cy="411480"/>
          </a:xfrm>
          <a:custGeom>
            <a:avLst/>
            <a:gdLst>
              <a:gd name="T0" fmla="*/ 165592411 w 21600"/>
              <a:gd name="T1" fmla="*/ 616479 h 21600"/>
              <a:gd name="T2" fmla="*/ 168792 w 21600"/>
              <a:gd name="T3" fmla="*/ 133998399 h 21600"/>
              <a:gd name="T4" fmla="*/ 0 w 21600"/>
              <a:gd name="T5" fmla="*/ 204838300 h 21600"/>
              <a:gd name="T6" fmla="*/ 260433876 w 21600"/>
              <a:gd name="T7" fmla="*/ 204838300 h 21600"/>
              <a:gd name="T8" fmla="*/ 260433876 w 21600"/>
              <a:gd name="T9" fmla="*/ 0 h 21600"/>
              <a:gd name="T10" fmla="*/ 165592411 w 21600"/>
              <a:gd name="T11" fmla="*/ 616479 h 21600"/>
              <a:gd name="T12" fmla="*/ 165592411 w 21600"/>
              <a:gd name="T13" fmla="*/ 616479 h 21600"/>
              <a:gd name="T14" fmla="*/ 165592411 w 21600"/>
              <a:gd name="T15" fmla="*/ 616479 h 2160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21600" h="21600">
                <a:moveTo>
                  <a:pt x="13734" y="65"/>
                </a:moveTo>
                <a:cubicBezTo>
                  <a:pt x="4547" y="550"/>
                  <a:pt x="111" y="6203"/>
                  <a:pt x="14" y="14130"/>
                </a:cubicBezTo>
                <a:cubicBezTo>
                  <a:pt x="9" y="16620"/>
                  <a:pt x="5" y="19110"/>
                  <a:pt x="0" y="21600"/>
                </a:cubicBezTo>
                <a:cubicBezTo>
                  <a:pt x="7200" y="21600"/>
                  <a:pt x="14400" y="21600"/>
                  <a:pt x="21600" y="21600"/>
                </a:cubicBezTo>
                <a:cubicBezTo>
                  <a:pt x="21600" y="14400"/>
                  <a:pt x="21600" y="7200"/>
                  <a:pt x="21600" y="0"/>
                </a:cubicBezTo>
                <a:cubicBezTo>
                  <a:pt x="18978" y="22"/>
                  <a:pt x="16356" y="43"/>
                  <a:pt x="13734" y="65"/>
                </a:cubicBezTo>
                <a:cubicBezTo>
                  <a:pt x="13734" y="65"/>
                  <a:pt x="13734" y="65"/>
                  <a:pt x="13734" y="65"/>
                </a:cubicBezTo>
                <a:cubicBezTo>
                  <a:pt x="13734" y="65"/>
                  <a:pt x="13734" y="65"/>
                  <a:pt x="13734" y="65"/>
                </a:cubicBezTo>
              </a:path>
            </a:pathLst>
          </a:custGeom>
          <a:solidFill>
            <a:srgbClr val="003C83"/>
          </a:solidFill>
          <a:ln w="25400">
            <a:noFill/>
            <a:miter lim="800000"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71686" name="AutoShape 6"/>
          <p:cNvSpPr>
            <a:spLocks/>
          </p:cNvSpPr>
          <p:nvPr/>
        </p:nvSpPr>
        <p:spPr bwMode="auto">
          <a:xfrm>
            <a:off x="308610" y="3371850"/>
            <a:ext cx="445770" cy="411480"/>
          </a:xfrm>
          <a:custGeom>
            <a:avLst/>
            <a:gdLst>
              <a:gd name="T0" fmla="*/ 165592411 w 21600"/>
              <a:gd name="T1" fmla="*/ 616479 h 21600"/>
              <a:gd name="T2" fmla="*/ 168792 w 21600"/>
              <a:gd name="T3" fmla="*/ 133998399 h 21600"/>
              <a:gd name="T4" fmla="*/ 0 w 21600"/>
              <a:gd name="T5" fmla="*/ 204838300 h 21600"/>
              <a:gd name="T6" fmla="*/ 260433876 w 21600"/>
              <a:gd name="T7" fmla="*/ 204838300 h 21600"/>
              <a:gd name="T8" fmla="*/ 260433876 w 21600"/>
              <a:gd name="T9" fmla="*/ 0 h 21600"/>
              <a:gd name="T10" fmla="*/ 165592411 w 21600"/>
              <a:gd name="T11" fmla="*/ 616479 h 21600"/>
              <a:gd name="T12" fmla="*/ 165592411 w 21600"/>
              <a:gd name="T13" fmla="*/ 616479 h 21600"/>
              <a:gd name="T14" fmla="*/ 165592411 w 21600"/>
              <a:gd name="T15" fmla="*/ 616479 h 2160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21600" h="21600">
                <a:moveTo>
                  <a:pt x="13734" y="65"/>
                </a:moveTo>
                <a:cubicBezTo>
                  <a:pt x="4547" y="550"/>
                  <a:pt x="111" y="6203"/>
                  <a:pt x="14" y="14130"/>
                </a:cubicBezTo>
                <a:cubicBezTo>
                  <a:pt x="9" y="16620"/>
                  <a:pt x="5" y="19110"/>
                  <a:pt x="0" y="21600"/>
                </a:cubicBezTo>
                <a:cubicBezTo>
                  <a:pt x="7200" y="21600"/>
                  <a:pt x="14400" y="21600"/>
                  <a:pt x="21600" y="21600"/>
                </a:cubicBezTo>
                <a:cubicBezTo>
                  <a:pt x="21600" y="14400"/>
                  <a:pt x="21600" y="7200"/>
                  <a:pt x="21600" y="0"/>
                </a:cubicBezTo>
                <a:cubicBezTo>
                  <a:pt x="18978" y="22"/>
                  <a:pt x="16356" y="43"/>
                  <a:pt x="13734" y="65"/>
                </a:cubicBezTo>
                <a:cubicBezTo>
                  <a:pt x="13734" y="65"/>
                  <a:pt x="13734" y="65"/>
                  <a:pt x="13734" y="65"/>
                </a:cubicBezTo>
                <a:cubicBezTo>
                  <a:pt x="13734" y="65"/>
                  <a:pt x="13734" y="65"/>
                  <a:pt x="13734" y="65"/>
                </a:cubicBezTo>
              </a:path>
            </a:pathLst>
          </a:custGeom>
          <a:solidFill>
            <a:srgbClr val="003C83"/>
          </a:solidFill>
          <a:ln w="25400">
            <a:noFill/>
            <a:miter lim="800000"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71687" name="Rectangle 7"/>
          <p:cNvSpPr>
            <a:spLocks/>
          </p:cNvSpPr>
          <p:nvPr/>
        </p:nvSpPr>
        <p:spPr bwMode="auto">
          <a:xfrm>
            <a:off x="457200" y="3337560"/>
            <a:ext cx="283464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720" tIns="45720" rIns="45720" bIns="45720"/>
          <a:lstStyle/>
          <a:p>
            <a:pPr>
              <a:tabLst>
                <a:tab pos="960120" algn="l"/>
              </a:tabLst>
            </a:pPr>
            <a:r>
              <a:rPr lang="en-US" sz="2200" dirty="0">
                <a:solidFill>
                  <a:srgbClr val="FFFFFF"/>
                </a:solidFill>
              </a:rPr>
              <a:t>Database Application</a:t>
            </a:r>
          </a:p>
        </p:txBody>
      </p:sp>
      <p:sp>
        <p:nvSpPr>
          <p:cNvPr id="3" name="AutoShape 8"/>
          <p:cNvSpPr>
            <a:spLocks/>
          </p:cNvSpPr>
          <p:nvPr/>
        </p:nvSpPr>
        <p:spPr bwMode="auto">
          <a:xfrm>
            <a:off x="4366260" y="4572000"/>
            <a:ext cx="4411980" cy="1867548"/>
          </a:xfrm>
          <a:prstGeom prst="roundRect">
            <a:avLst>
              <a:gd name="adj" fmla="val 15685"/>
            </a:avLst>
          </a:prstGeom>
          <a:blipFill dpi="0" rotWithShape="0">
            <a:blip r:embed="rId3" cstate="print"/>
            <a:srcRect/>
            <a:tile tx="0" ty="0" sx="100000" sy="100000" flip="none" algn="tl"/>
          </a:blipFill>
          <a:ln w="25400">
            <a:solidFill>
              <a:srgbClr val="003C83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82296" tIns="41148" rIns="82296" bIns="41148"/>
          <a:lstStyle/>
          <a:p>
            <a:pPr>
              <a:defRPr/>
            </a:pPr>
            <a:endParaRPr lang="en-US">
              <a:latin typeface="Gill Sans" pitchFamily="80" charset="0"/>
              <a:ea typeface="ヒラギノ角ゴ Pro W3" pitchFamily="80" charset="-128"/>
              <a:sym typeface="Gill Sans" pitchFamily="80" charset="0"/>
            </a:endParaRPr>
          </a:p>
        </p:txBody>
      </p:sp>
      <p:sp>
        <p:nvSpPr>
          <p:cNvPr id="71689" name="Rectangle 9"/>
          <p:cNvSpPr>
            <a:spLocks/>
          </p:cNvSpPr>
          <p:nvPr/>
        </p:nvSpPr>
        <p:spPr bwMode="auto">
          <a:xfrm>
            <a:off x="4800600" y="4572000"/>
            <a:ext cx="2343150" cy="411480"/>
          </a:xfrm>
          <a:prstGeom prst="rect">
            <a:avLst/>
          </a:prstGeom>
          <a:solidFill>
            <a:srgbClr val="003C83"/>
          </a:solidFill>
          <a:ln w="25400">
            <a:noFill/>
            <a:miter lim="800000"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71690" name="AutoShape 10"/>
          <p:cNvSpPr>
            <a:spLocks/>
          </p:cNvSpPr>
          <p:nvPr/>
        </p:nvSpPr>
        <p:spPr bwMode="auto">
          <a:xfrm rot="10800000">
            <a:off x="7052310" y="4572000"/>
            <a:ext cx="445770" cy="411480"/>
          </a:xfrm>
          <a:custGeom>
            <a:avLst/>
            <a:gdLst>
              <a:gd name="T0" fmla="*/ 165592411 w 21600"/>
              <a:gd name="T1" fmla="*/ 616479 h 21600"/>
              <a:gd name="T2" fmla="*/ 168792 w 21600"/>
              <a:gd name="T3" fmla="*/ 133998399 h 21600"/>
              <a:gd name="T4" fmla="*/ 0 w 21600"/>
              <a:gd name="T5" fmla="*/ 204838300 h 21600"/>
              <a:gd name="T6" fmla="*/ 260433876 w 21600"/>
              <a:gd name="T7" fmla="*/ 204838300 h 21600"/>
              <a:gd name="T8" fmla="*/ 260433876 w 21600"/>
              <a:gd name="T9" fmla="*/ 0 h 21600"/>
              <a:gd name="T10" fmla="*/ 165592411 w 21600"/>
              <a:gd name="T11" fmla="*/ 616479 h 21600"/>
              <a:gd name="T12" fmla="*/ 165592411 w 21600"/>
              <a:gd name="T13" fmla="*/ 616479 h 21600"/>
              <a:gd name="T14" fmla="*/ 165592411 w 21600"/>
              <a:gd name="T15" fmla="*/ 616479 h 2160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21600" h="21600">
                <a:moveTo>
                  <a:pt x="13734" y="65"/>
                </a:moveTo>
                <a:cubicBezTo>
                  <a:pt x="4547" y="550"/>
                  <a:pt x="111" y="6203"/>
                  <a:pt x="14" y="14130"/>
                </a:cubicBezTo>
                <a:cubicBezTo>
                  <a:pt x="9" y="16620"/>
                  <a:pt x="5" y="19110"/>
                  <a:pt x="0" y="21600"/>
                </a:cubicBezTo>
                <a:cubicBezTo>
                  <a:pt x="7200" y="21600"/>
                  <a:pt x="14400" y="21600"/>
                  <a:pt x="21600" y="21600"/>
                </a:cubicBezTo>
                <a:cubicBezTo>
                  <a:pt x="21600" y="14400"/>
                  <a:pt x="21600" y="7200"/>
                  <a:pt x="21600" y="0"/>
                </a:cubicBezTo>
                <a:cubicBezTo>
                  <a:pt x="18978" y="22"/>
                  <a:pt x="16356" y="43"/>
                  <a:pt x="13734" y="65"/>
                </a:cubicBezTo>
                <a:cubicBezTo>
                  <a:pt x="13734" y="65"/>
                  <a:pt x="13734" y="65"/>
                  <a:pt x="13734" y="65"/>
                </a:cubicBezTo>
                <a:cubicBezTo>
                  <a:pt x="13734" y="65"/>
                  <a:pt x="13734" y="65"/>
                  <a:pt x="13734" y="65"/>
                </a:cubicBezTo>
              </a:path>
            </a:pathLst>
          </a:custGeom>
          <a:solidFill>
            <a:srgbClr val="003C83"/>
          </a:solidFill>
          <a:ln w="25400">
            <a:noFill/>
            <a:miter lim="800000"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71691" name="AutoShape 11"/>
          <p:cNvSpPr>
            <a:spLocks/>
          </p:cNvSpPr>
          <p:nvPr/>
        </p:nvSpPr>
        <p:spPr bwMode="auto">
          <a:xfrm>
            <a:off x="4366260" y="4572000"/>
            <a:ext cx="445770" cy="411480"/>
          </a:xfrm>
          <a:custGeom>
            <a:avLst/>
            <a:gdLst>
              <a:gd name="T0" fmla="*/ 165592411 w 21600"/>
              <a:gd name="T1" fmla="*/ 616479 h 21600"/>
              <a:gd name="T2" fmla="*/ 168792 w 21600"/>
              <a:gd name="T3" fmla="*/ 133998399 h 21600"/>
              <a:gd name="T4" fmla="*/ 0 w 21600"/>
              <a:gd name="T5" fmla="*/ 204838300 h 21600"/>
              <a:gd name="T6" fmla="*/ 260433876 w 21600"/>
              <a:gd name="T7" fmla="*/ 204838300 h 21600"/>
              <a:gd name="T8" fmla="*/ 260433876 w 21600"/>
              <a:gd name="T9" fmla="*/ 0 h 21600"/>
              <a:gd name="T10" fmla="*/ 165592411 w 21600"/>
              <a:gd name="T11" fmla="*/ 616479 h 21600"/>
              <a:gd name="T12" fmla="*/ 165592411 w 21600"/>
              <a:gd name="T13" fmla="*/ 616479 h 21600"/>
              <a:gd name="T14" fmla="*/ 165592411 w 21600"/>
              <a:gd name="T15" fmla="*/ 616479 h 2160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21600" h="21600">
                <a:moveTo>
                  <a:pt x="13734" y="65"/>
                </a:moveTo>
                <a:cubicBezTo>
                  <a:pt x="4547" y="550"/>
                  <a:pt x="111" y="6203"/>
                  <a:pt x="14" y="14130"/>
                </a:cubicBezTo>
                <a:cubicBezTo>
                  <a:pt x="9" y="16620"/>
                  <a:pt x="5" y="19110"/>
                  <a:pt x="0" y="21600"/>
                </a:cubicBezTo>
                <a:cubicBezTo>
                  <a:pt x="7200" y="21600"/>
                  <a:pt x="14400" y="21600"/>
                  <a:pt x="21600" y="21600"/>
                </a:cubicBezTo>
                <a:cubicBezTo>
                  <a:pt x="21600" y="14400"/>
                  <a:pt x="21600" y="7200"/>
                  <a:pt x="21600" y="0"/>
                </a:cubicBezTo>
                <a:cubicBezTo>
                  <a:pt x="18978" y="22"/>
                  <a:pt x="16356" y="43"/>
                  <a:pt x="13734" y="65"/>
                </a:cubicBezTo>
                <a:cubicBezTo>
                  <a:pt x="13734" y="65"/>
                  <a:pt x="13734" y="65"/>
                  <a:pt x="13734" y="65"/>
                </a:cubicBezTo>
                <a:cubicBezTo>
                  <a:pt x="13734" y="65"/>
                  <a:pt x="13734" y="65"/>
                  <a:pt x="13734" y="65"/>
                </a:cubicBezTo>
              </a:path>
            </a:pathLst>
          </a:custGeom>
          <a:solidFill>
            <a:srgbClr val="003C83"/>
          </a:solidFill>
          <a:ln w="25400">
            <a:noFill/>
            <a:miter lim="800000"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71692" name="Rectangle 12"/>
          <p:cNvSpPr>
            <a:spLocks/>
          </p:cNvSpPr>
          <p:nvPr/>
        </p:nvSpPr>
        <p:spPr bwMode="auto">
          <a:xfrm>
            <a:off x="4514850" y="4537710"/>
            <a:ext cx="283464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720" tIns="45720" rIns="45720" bIns="45720"/>
          <a:lstStyle/>
          <a:p>
            <a:pPr>
              <a:tabLst>
                <a:tab pos="960120" algn="l"/>
              </a:tabLst>
            </a:pPr>
            <a:r>
              <a:rPr lang="en-US" sz="2200" dirty="0">
                <a:solidFill>
                  <a:srgbClr val="FFFFFF"/>
                </a:solidFill>
              </a:rPr>
              <a:t>Financial services</a:t>
            </a:r>
          </a:p>
        </p:txBody>
      </p:sp>
      <p:sp>
        <p:nvSpPr>
          <p:cNvPr id="4" name="AutoShape 13"/>
          <p:cNvSpPr>
            <a:spLocks/>
          </p:cNvSpPr>
          <p:nvPr/>
        </p:nvSpPr>
        <p:spPr bwMode="auto">
          <a:xfrm>
            <a:off x="4366260" y="2503170"/>
            <a:ext cx="4411980" cy="1611630"/>
          </a:xfrm>
          <a:prstGeom prst="roundRect">
            <a:avLst>
              <a:gd name="adj" fmla="val 19833"/>
            </a:avLst>
          </a:prstGeom>
          <a:blipFill dpi="0" rotWithShape="0">
            <a:blip r:embed="rId3" cstate="print"/>
            <a:srcRect/>
            <a:tile tx="0" ty="0" sx="100000" sy="100000" flip="none" algn="tl"/>
          </a:blipFill>
          <a:ln w="25400">
            <a:solidFill>
              <a:srgbClr val="003C83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82296" tIns="41148" rIns="82296" bIns="41148"/>
          <a:lstStyle/>
          <a:p>
            <a:pPr>
              <a:defRPr/>
            </a:pPr>
            <a:endParaRPr lang="en-US">
              <a:latin typeface="Gill Sans" pitchFamily="80" charset="0"/>
              <a:ea typeface="ヒラギノ角ゴ Pro W3" pitchFamily="80" charset="-128"/>
              <a:sym typeface="Gill Sans" pitchFamily="80" charset="0"/>
            </a:endParaRPr>
          </a:p>
        </p:txBody>
      </p:sp>
      <p:sp>
        <p:nvSpPr>
          <p:cNvPr id="71694" name="Rectangle 14"/>
          <p:cNvSpPr>
            <a:spLocks/>
          </p:cNvSpPr>
          <p:nvPr/>
        </p:nvSpPr>
        <p:spPr bwMode="auto">
          <a:xfrm>
            <a:off x="4800600" y="2503170"/>
            <a:ext cx="2343150" cy="411480"/>
          </a:xfrm>
          <a:prstGeom prst="rect">
            <a:avLst/>
          </a:prstGeom>
          <a:solidFill>
            <a:srgbClr val="003C83"/>
          </a:solidFill>
          <a:ln w="25400">
            <a:noFill/>
            <a:miter lim="800000"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71695" name="AutoShape 15"/>
          <p:cNvSpPr>
            <a:spLocks/>
          </p:cNvSpPr>
          <p:nvPr/>
        </p:nvSpPr>
        <p:spPr bwMode="auto">
          <a:xfrm rot="10800000">
            <a:off x="7052310" y="2503170"/>
            <a:ext cx="445770" cy="411480"/>
          </a:xfrm>
          <a:custGeom>
            <a:avLst/>
            <a:gdLst>
              <a:gd name="T0" fmla="*/ 165592411 w 21600"/>
              <a:gd name="T1" fmla="*/ 616479 h 21600"/>
              <a:gd name="T2" fmla="*/ 168792 w 21600"/>
              <a:gd name="T3" fmla="*/ 133998399 h 21600"/>
              <a:gd name="T4" fmla="*/ 0 w 21600"/>
              <a:gd name="T5" fmla="*/ 204838300 h 21600"/>
              <a:gd name="T6" fmla="*/ 260433876 w 21600"/>
              <a:gd name="T7" fmla="*/ 204838300 h 21600"/>
              <a:gd name="T8" fmla="*/ 260433876 w 21600"/>
              <a:gd name="T9" fmla="*/ 0 h 21600"/>
              <a:gd name="T10" fmla="*/ 165592411 w 21600"/>
              <a:gd name="T11" fmla="*/ 616479 h 21600"/>
              <a:gd name="T12" fmla="*/ 165592411 w 21600"/>
              <a:gd name="T13" fmla="*/ 616479 h 21600"/>
              <a:gd name="T14" fmla="*/ 165592411 w 21600"/>
              <a:gd name="T15" fmla="*/ 616479 h 2160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21600" h="21600">
                <a:moveTo>
                  <a:pt x="13734" y="65"/>
                </a:moveTo>
                <a:cubicBezTo>
                  <a:pt x="4547" y="550"/>
                  <a:pt x="111" y="6203"/>
                  <a:pt x="14" y="14130"/>
                </a:cubicBezTo>
                <a:cubicBezTo>
                  <a:pt x="9" y="16620"/>
                  <a:pt x="5" y="19110"/>
                  <a:pt x="0" y="21600"/>
                </a:cubicBezTo>
                <a:cubicBezTo>
                  <a:pt x="7200" y="21600"/>
                  <a:pt x="14400" y="21600"/>
                  <a:pt x="21600" y="21600"/>
                </a:cubicBezTo>
                <a:cubicBezTo>
                  <a:pt x="21600" y="14400"/>
                  <a:pt x="21600" y="7200"/>
                  <a:pt x="21600" y="0"/>
                </a:cubicBezTo>
                <a:cubicBezTo>
                  <a:pt x="18978" y="22"/>
                  <a:pt x="16356" y="43"/>
                  <a:pt x="13734" y="65"/>
                </a:cubicBezTo>
                <a:cubicBezTo>
                  <a:pt x="13734" y="65"/>
                  <a:pt x="13734" y="65"/>
                  <a:pt x="13734" y="65"/>
                </a:cubicBezTo>
                <a:cubicBezTo>
                  <a:pt x="13734" y="65"/>
                  <a:pt x="13734" y="65"/>
                  <a:pt x="13734" y="65"/>
                </a:cubicBezTo>
              </a:path>
            </a:pathLst>
          </a:custGeom>
          <a:solidFill>
            <a:srgbClr val="003C83"/>
          </a:solidFill>
          <a:ln w="25400">
            <a:noFill/>
            <a:miter lim="800000"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71696" name="AutoShape 16"/>
          <p:cNvSpPr>
            <a:spLocks/>
          </p:cNvSpPr>
          <p:nvPr/>
        </p:nvSpPr>
        <p:spPr bwMode="auto">
          <a:xfrm>
            <a:off x="4366260" y="2503170"/>
            <a:ext cx="445770" cy="411480"/>
          </a:xfrm>
          <a:custGeom>
            <a:avLst/>
            <a:gdLst>
              <a:gd name="T0" fmla="*/ 165592411 w 21600"/>
              <a:gd name="T1" fmla="*/ 616479 h 21600"/>
              <a:gd name="T2" fmla="*/ 168792 w 21600"/>
              <a:gd name="T3" fmla="*/ 133998399 h 21600"/>
              <a:gd name="T4" fmla="*/ 0 w 21600"/>
              <a:gd name="T5" fmla="*/ 204838300 h 21600"/>
              <a:gd name="T6" fmla="*/ 260433876 w 21600"/>
              <a:gd name="T7" fmla="*/ 204838300 h 21600"/>
              <a:gd name="T8" fmla="*/ 260433876 w 21600"/>
              <a:gd name="T9" fmla="*/ 0 h 21600"/>
              <a:gd name="T10" fmla="*/ 165592411 w 21600"/>
              <a:gd name="T11" fmla="*/ 616479 h 21600"/>
              <a:gd name="T12" fmla="*/ 165592411 w 21600"/>
              <a:gd name="T13" fmla="*/ 616479 h 21600"/>
              <a:gd name="T14" fmla="*/ 165592411 w 21600"/>
              <a:gd name="T15" fmla="*/ 616479 h 2160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21600" h="21600">
                <a:moveTo>
                  <a:pt x="13734" y="65"/>
                </a:moveTo>
                <a:cubicBezTo>
                  <a:pt x="4547" y="550"/>
                  <a:pt x="111" y="6203"/>
                  <a:pt x="14" y="14130"/>
                </a:cubicBezTo>
                <a:cubicBezTo>
                  <a:pt x="9" y="16620"/>
                  <a:pt x="5" y="19110"/>
                  <a:pt x="0" y="21600"/>
                </a:cubicBezTo>
                <a:cubicBezTo>
                  <a:pt x="7200" y="21600"/>
                  <a:pt x="14400" y="21600"/>
                  <a:pt x="21600" y="21600"/>
                </a:cubicBezTo>
                <a:cubicBezTo>
                  <a:pt x="21600" y="14400"/>
                  <a:pt x="21600" y="7200"/>
                  <a:pt x="21600" y="0"/>
                </a:cubicBezTo>
                <a:cubicBezTo>
                  <a:pt x="18978" y="22"/>
                  <a:pt x="16356" y="43"/>
                  <a:pt x="13734" y="65"/>
                </a:cubicBezTo>
                <a:cubicBezTo>
                  <a:pt x="13734" y="65"/>
                  <a:pt x="13734" y="65"/>
                  <a:pt x="13734" y="65"/>
                </a:cubicBezTo>
                <a:cubicBezTo>
                  <a:pt x="13734" y="65"/>
                  <a:pt x="13734" y="65"/>
                  <a:pt x="13734" y="65"/>
                </a:cubicBezTo>
              </a:path>
            </a:pathLst>
          </a:custGeom>
          <a:solidFill>
            <a:srgbClr val="003C83"/>
          </a:solidFill>
          <a:ln w="25400">
            <a:noFill/>
            <a:miter lim="800000"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71697" name="Rectangle 17"/>
          <p:cNvSpPr>
            <a:spLocks/>
          </p:cNvSpPr>
          <p:nvPr/>
        </p:nvSpPr>
        <p:spPr bwMode="auto">
          <a:xfrm>
            <a:off x="4514850" y="2468880"/>
            <a:ext cx="283464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720" tIns="45720" rIns="45720" bIns="45720"/>
          <a:lstStyle/>
          <a:p>
            <a:pPr>
              <a:tabLst>
                <a:tab pos="960120" algn="l"/>
              </a:tabLst>
            </a:pPr>
            <a:r>
              <a:rPr lang="en-US" sz="2200" dirty="0">
                <a:solidFill>
                  <a:srgbClr val="FFFFFF"/>
                </a:solidFill>
              </a:rPr>
              <a:t>Life Sciences</a:t>
            </a:r>
          </a:p>
        </p:txBody>
      </p:sp>
      <p:sp>
        <p:nvSpPr>
          <p:cNvPr id="71698" name="Rectangle 18"/>
          <p:cNvSpPr>
            <a:spLocks/>
          </p:cNvSpPr>
          <p:nvPr/>
        </p:nvSpPr>
        <p:spPr bwMode="auto">
          <a:xfrm>
            <a:off x="4366260" y="2926080"/>
            <a:ext cx="4411980" cy="8229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720" tIns="45720" rIns="45720" bIns="45720"/>
          <a:lstStyle/>
          <a:p>
            <a:pPr>
              <a:tabLst>
                <a:tab pos="960120" algn="l"/>
              </a:tabLst>
            </a:pPr>
            <a:r>
              <a:rPr lang="en-US" sz="2200" dirty="0">
                <a:solidFill>
                  <a:srgbClr val="FFFFFF"/>
                </a:solidFill>
              </a:rPr>
              <a:t>Support features necessary for population genetics studies.</a:t>
            </a:r>
          </a:p>
        </p:txBody>
      </p:sp>
      <p:sp>
        <p:nvSpPr>
          <p:cNvPr id="71699" name="Rectangle 19"/>
          <p:cNvSpPr>
            <a:spLocks/>
          </p:cNvSpPr>
          <p:nvPr/>
        </p:nvSpPr>
        <p:spPr bwMode="auto">
          <a:xfrm>
            <a:off x="4491990" y="5029200"/>
            <a:ext cx="4194810" cy="11887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720" tIns="45720" rIns="45720" bIns="45720"/>
          <a:lstStyle/>
          <a:p>
            <a:pPr>
              <a:tabLst>
                <a:tab pos="960120" algn="l"/>
              </a:tabLst>
            </a:pPr>
            <a:r>
              <a:rPr lang="en-US" sz="2200" dirty="0">
                <a:solidFill>
                  <a:srgbClr val="FFFFFF"/>
                </a:solidFill>
              </a:rPr>
              <a:t>Support more technical indicators than company ABC with real-time, streaming data.</a:t>
            </a:r>
          </a:p>
        </p:txBody>
      </p:sp>
      <p:sp>
        <p:nvSpPr>
          <p:cNvPr id="71700" name="Rectangle 20"/>
          <p:cNvSpPr>
            <a:spLocks/>
          </p:cNvSpPr>
          <p:nvPr/>
        </p:nvSpPr>
        <p:spPr bwMode="auto">
          <a:xfrm>
            <a:off x="411480" y="3840480"/>
            <a:ext cx="4194810" cy="11887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720" tIns="45720" rIns="45720" bIns="45720"/>
          <a:lstStyle/>
          <a:p>
            <a:pPr>
              <a:lnSpc>
                <a:spcPct val="150000"/>
              </a:lnSpc>
              <a:tabLst>
                <a:tab pos="960120" algn="l"/>
              </a:tabLst>
            </a:pPr>
            <a:r>
              <a:rPr lang="en-US" sz="2200" dirty="0">
                <a:solidFill>
                  <a:srgbClr val="FFFFFF"/>
                </a:solidFill>
              </a:rPr>
              <a:t>Make the application run on SQL Server in addition to Oracle.</a:t>
            </a:r>
          </a:p>
        </p:txBody>
      </p:sp>
    </p:spTree>
  </p:cSld>
  <p:clrMapOvr>
    <a:masterClrMapping/>
  </p:clrMapOvr>
  <p:transition spd="slow">
    <p:dissolv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 txBox="1">
            <a:spLocks noChangeArrowheads="1"/>
          </p:cNvSpPr>
          <p:nvPr/>
        </p:nvSpPr>
        <p:spPr bwMode="auto">
          <a:xfrm>
            <a:off x="145119" y="1295400"/>
            <a:ext cx="8562012" cy="518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31775" indent="-231775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5475" indent="-2794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200">
                <a:solidFill>
                  <a:schemeClr val="tx1"/>
                </a:solidFill>
                <a:latin typeface="+mn-lt"/>
              </a:defRPr>
            </a:lvl2pPr>
            <a:lvl3pPr marL="914400" indent="-174625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3pPr>
            <a:lvl4pPr marL="1203325" indent="-173038" algn="l" rtl="0" fontAlgn="base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</a:defRPr>
            </a:lvl4pPr>
            <a:lvl5pPr marL="1597025" indent="-220663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5pPr>
            <a:lvl6pPr marL="2054225" indent="-220663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6pPr>
            <a:lvl7pPr marL="2511425" indent="-220663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7pPr>
            <a:lvl8pPr marL="2968625" indent="-220663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8pPr>
            <a:lvl9pPr marL="3425825" indent="-220663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231775" marR="0" lvl="0" indent="-23177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alt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Individuals sign up for work of their own choosing</a:t>
            </a:r>
          </a:p>
          <a:p>
            <a:pPr marL="625475" marR="0" lvl="1" indent="-2794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kumimoji="0" lang="en-US" altLang="en-US" sz="2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Work is never assigned</a:t>
            </a:r>
          </a:p>
          <a:p>
            <a:pPr marL="231775" marR="0" lvl="0" indent="-23177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alt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Estimated work remaining is updated daily</a:t>
            </a:r>
          </a:p>
          <a:p>
            <a:pPr marL="231775" marR="0" lvl="0" indent="-23177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altLang="en-US" sz="2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231775" marR="0" lvl="0" indent="-23177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alt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ny team member can add, delete change sprint backlog</a:t>
            </a:r>
          </a:p>
          <a:p>
            <a:pPr marL="231775" marR="0" lvl="0" indent="-23177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alt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Work for the sprint emerges</a:t>
            </a:r>
          </a:p>
          <a:p>
            <a:pPr marL="231775" marR="0" lvl="0" indent="-23177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alt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If work is unclear, define a sprint backlog item with a larger amount of time and break it down later</a:t>
            </a:r>
          </a:p>
          <a:p>
            <a:pPr marL="231775" marR="0" lvl="0" indent="-23177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alt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Update work remaining as more becomes known</a:t>
            </a:r>
          </a:p>
        </p:txBody>
      </p:sp>
      <p:sp>
        <p:nvSpPr>
          <p:cNvPr id="6" name="Rectangle 1"/>
          <p:cNvSpPr txBox="1">
            <a:spLocks noChangeArrowheads="1"/>
          </p:cNvSpPr>
          <p:nvPr/>
        </p:nvSpPr>
        <p:spPr bwMode="auto">
          <a:xfrm>
            <a:off x="326518" y="127747"/>
            <a:ext cx="9009462" cy="106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+mj-lt"/>
                <a:ea typeface="+mj-ea"/>
                <a:cs typeface="ヒラギノ角ゴ Pro W3" charset="0"/>
                <a:sym typeface="Gill Sans" pitchFamily="1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0" cap="none" spc="0" normalizeH="0" baseline="0" noProof="0" dirty="0">
                <a:ln>
                  <a:noFill/>
                </a:ln>
                <a:solidFill>
                  <a:srgbClr val="5F7BAE"/>
                </a:solidFill>
                <a:effectLst/>
                <a:uLnTx/>
                <a:uFillTx/>
                <a:sym typeface="Gill Sans" charset="0"/>
              </a:rPr>
              <a:t>Sprint Backlog</a:t>
            </a:r>
          </a:p>
        </p:txBody>
      </p:sp>
    </p:spTree>
    <p:extLst>
      <p:ext uri="{BB962C8B-B14F-4D97-AF65-F5344CB8AC3E}">
        <p14:creationId xmlns:p14="http://schemas.microsoft.com/office/powerpoint/2010/main" val="416435827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013" y="1158876"/>
            <a:ext cx="8433521" cy="265112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</p:pic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818" y="3956050"/>
            <a:ext cx="8425964" cy="2681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1"/>
          <p:cNvSpPr txBox="1">
            <a:spLocks noChangeArrowheads="1"/>
          </p:cNvSpPr>
          <p:nvPr/>
        </p:nvSpPr>
        <p:spPr bwMode="auto">
          <a:xfrm>
            <a:off x="326518" y="127747"/>
            <a:ext cx="9009462" cy="106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+mj-lt"/>
                <a:ea typeface="+mj-ea"/>
                <a:cs typeface="ヒラギノ角ゴ Pro W3" charset="0"/>
                <a:sym typeface="Gill Sans" pitchFamily="1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0" cap="none" spc="0" normalizeH="0" baseline="0" noProof="0" dirty="0">
                <a:ln>
                  <a:noFill/>
                </a:ln>
                <a:solidFill>
                  <a:srgbClr val="5F7BAE"/>
                </a:solidFill>
                <a:effectLst/>
                <a:uLnTx/>
                <a:uFillTx/>
                <a:sym typeface="Gill Sans" charset="0"/>
              </a:rPr>
              <a:t>Sample Sprint Backlog</a:t>
            </a:r>
          </a:p>
        </p:txBody>
      </p:sp>
      <p:sp>
        <p:nvSpPr>
          <p:cNvPr id="10" name="Rectangle 9"/>
          <p:cNvSpPr/>
          <p:nvPr/>
        </p:nvSpPr>
        <p:spPr bwMode="auto">
          <a:xfrm>
            <a:off x="247645" y="1559860"/>
            <a:ext cx="699896" cy="161365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2">
                <a:alpha val="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rPr>
              <a:t>01/11/2015</a:t>
            </a:r>
          </a:p>
        </p:txBody>
      </p:sp>
      <p:sp>
        <p:nvSpPr>
          <p:cNvPr id="11" name="Rectangle 10"/>
          <p:cNvSpPr/>
          <p:nvPr/>
        </p:nvSpPr>
        <p:spPr bwMode="auto">
          <a:xfrm>
            <a:off x="264718" y="4361319"/>
            <a:ext cx="699896" cy="161365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2">
                <a:alpha val="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rPr>
              <a:t>01/11/2015</a:t>
            </a:r>
          </a:p>
        </p:txBody>
      </p:sp>
    </p:spTree>
    <p:extLst>
      <p:ext uri="{BB962C8B-B14F-4D97-AF65-F5344CB8AC3E}">
        <p14:creationId xmlns:p14="http://schemas.microsoft.com/office/powerpoint/2010/main" val="217417931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145119" y="1295400"/>
            <a:ext cx="8562012" cy="518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31775" indent="-231775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5475" indent="-2794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200">
                <a:solidFill>
                  <a:schemeClr val="tx1"/>
                </a:solidFill>
                <a:latin typeface="+mn-lt"/>
              </a:defRPr>
            </a:lvl2pPr>
            <a:lvl3pPr marL="914400" indent="-174625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3pPr>
            <a:lvl4pPr marL="1203325" indent="-173038" algn="l" rtl="0" fontAlgn="base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</a:defRPr>
            </a:lvl4pPr>
            <a:lvl5pPr marL="1597025" indent="-220663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5pPr>
            <a:lvl6pPr marL="2054225" indent="-220663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6pPr>
            <a:lvl7pPr marL="2511425" indent="-220663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7pPr>
            <a:lvl8pPr marL="2968625" indent="-220663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8pPr>
            <a:lvl9pPr marL="3425825" indent="-220663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231775" marR="0" lvl="0" indent="-23177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alt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 display of what work has been completed and what is left to complete</a:t>
            </a:r>
          </a:p>
          <a:p>
            <a:pPr marL="625475" marR="0" lvl="1" indent="-2794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kumimoji="0" lang="en-US" altLang="en-US" sz="2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one for each developer or work item</a:t>
            </a:r>
          </a:p>
          <a:p>
            <a:pPr marL="625475" marR="0" lvl="1" indent="-2794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kumimoji="0" lang="en-US" altLang="en-US" sz="2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updated every day</a:t>
            </a:r>
          </a:p>
          <a:p>
            <a:pPr marL="625475" marR="0" lvl="1" indent="-2794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kumimoji="0" lang="en-US" altLang="en-US" sz="2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(make best guess about hours/points completed each day)</a:t>
            </a:r>
          </a:p>
          <a:p>
            <a:pPr>
              <a:lnSpc>
                <a:spcPct val="100000"/>
              </a:lnSpc>
            </a:pPr>
            <a:r>
              <a:rPr lang="en-US" altLang="en-US" kern="0" dirty="0">
                <a:solidFill>
                  <a:srgbClr val="000000"/>
                </a:solidFill>
              </a:rPr>
              <a:t>Gives indication to:</a:t>
            </a:r>
          </a:p>
          <a:p>
            <a:pPr lvl="1">
              <a:lnSpc>
                <a:spcPct val="100000"/>
              </a:lnSpc>
            </a:pPr>
            <a:r>
              <a:rPr lang="en-GB" altLang="en-US" kern="0" dirty="0">
                <a:solidFill>
                  <a:srgbClr val="000000"/>
                </a:solidFill>
              </a:rPr>
              <a:t>No work being performed</a:t>
            </a:r>
          </a:p>
          <a:p>
            <a:pPr lvl="1">
              <a:lnSpc>
                <a:spcPct val="100000"/>
              </a:lnSpc>
            </a:pPr>
            <a:r>
              <a:rPr kumimoji="0" lang="en-GB" altLang="en-US" sz="2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Not fast enough work</a:t>
            </a:r>
          </a:p>
          <a:p>
            <a:pPr lvl="1">
              <a:lnSpc>
                <a:spcPct val="100000"/>
              </a:lnSpc>
            </a:pPr>
            <a:r>
              <a:rPr kumimoji="0" lang="en-US" altLang="en-US" sz="2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oo fast work</a:t>
            </a:r>
          </a:p>
          <a:p>
            <a:pPr marL="231775" marR="0" lvl="0" indent="-23177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altLang="en-US" sz="24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variation:</a:t>
            </a:r>
            <a:r>
              <a:rPr kumimoji="0" lang="en-US" alt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Release </a:t>
            </a:r>
            <a:r>
              <a:rPr kumimoji="0" lang="en-US" altLang="en-US" sz="2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burndown</a:t>
            </a:r>
            <a:r>
              <a:rPr kumimoji="0" lang="en-US" alt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chart</a:t>
            </a:r>
          </a:p>
          <a:p>
            <a:pPr marL="625475" marR="0" lvl="1" indent="-2794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kumimoji="0" lang="en-US" altLang="en-US" sz="2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shows overall progress</a:t>
            </a:r>
          </a:p>
          <a:p>
            <a:pPr marL="625475" marR="0" lvl="1" indent="-2794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kumimoji="0" lang="en-US" altLang="en-US" sz="2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updated at end of each sprint</a:t>
            </a:r>
          </a:p>
        </p:txBody>
      </p:sp>
      <p:pic>
        <p:nvPicPr>
          <p:cNvPr id="7" name="Picture 5" descr="File:SampleBurndownChart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538"/>
          <a:stretch>
            <a:fillRect/>
          </a:stretch>
        </p:blipFill>
        <p:spPr bwMode="auto">
          <a:xfrm>
            <a:off x="5296838" y="3603626"/>
            <a:ext cx="3410293" cy="2492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1"/>
          <p:cNvSpPr txBox="1">
            <a:spLocks noChangeArrowheads="1"/>
          </p:cNvSpPr>
          <p:nvPr/>
        </p:nvSpPr>
        <p:spPr bwMode="auto">
          <a:xfrm>
            <a:off x="326518" y="127747"/>
            <a:ext cx="9009462" cy="106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+mj-lt"/>
                <a:ea typeface="+mj-ea"/>
                <a:cs typeface="ヒラギノ角ゴ Pro W3" charset="0"/>
                <a:sym typeface="Gill Sans" pitchFamily="1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0" cap="none" spc="0" normalizeH="0" baseline="0" noProof="0" dirty="0">
                <a:ln>
                  <a:noFill/>
                </a:ln>
                <a:solidFill>
                  <a:srgbClr val="5F7BAE"/>
                </a:solidFill>
                <a:effectLst/>
                <a:uLnTx/>
                <a:uFillTx/>
                <a:sym typeface="Gill Sans" charset="0"/>
              </a:rPr>
              <a:t>Sprint </a:t>
            </a:r>
            <a:r>
              <a:rPr kumimoji="0" lang="en-US" sz="3600" b="0" i="0" u="none" strike="noStrike" kern="0" cap="none" spc="0" normalizeH="0" baseline="0" noProof="0" dirty="0" err="1">
                <a:ln>
                  <a:noFill/>
                </a:ln>
                <a:solidFill>
                  <a:srgbClr val="5F7BAE"/>
                </a:solidFill>
                <a:effectLst/>
                <a:uLnTx/>
                <a:uFillTx/>
                <a:sym typeface="Gill Sans" charset="0"/>
              </a:rPr>
              <a:t>Burndown</a:t>
            </a: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5F7BAE"/>
              </a:solidFill>
              <a:effectLst/>
              <a:uLnTx/>
              <a:uFillTx/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243492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78" name="Rectangle 2"/>
          <p:cNvSpPr>
            <a:spLocks/>
          </p:cNvSpPr>
          <p:nvPr/>
        </p:nvSpPr>
        <p:spPr bwMode="auto">
          <a:xfrm>
            <a:off x="1348740" y="2891790"/>
            <a:ext cx="6869430" cy="3634740"/>
          </a:xfrm>
          <a:prstGeom prst="rect">
            <a:avLst/>
          </a:prstGeom>
          <a:blipFill dpi="0" rotWithShape="0">
            <a:blip r:embed="rId3" cstate="print"/>
            <a:srcRect/>
            <a:tile tx="0" ty="0" sx="100000" sy="100000" flip="none" algn="tl"/>
          </a:blipFill>
          <a:ln w="9525">
            <a:solidFill>
              <a:srgbClr val="8E8E8E"/>
            </a:solidFill>
            <a:miter lim="800000"/>
            <a:headEnd/>
            <a:tailEnd/>
          </a:ln>
          <a:effectLst>
            <a:outerShdw dist="50800" dir="21480060" algn="ctr" rotWithShape="0">
              <a:schemeClr val="bg2">
                <a:alpha val="39998"/>
              </a:schemeClr>
            </a:outerShdw>
          </a:effectLst>
        </p:spPr>
        <p:txBody>
          <a:bodyPr lIns="82296" tIns="41148" rIns="82296" bIns="41148"/>
          <a:lstStyle/>
          <a:p>
            <a:pPr>
              <a:defRPr/>
            </a:pPr>
            <a:endParaRPr lang="en-US">
              <a:latin typeface="Gill Sans" pitchFamily="80" charset="0"/>
              <a:ea typeface="ヒラギノ角ゴ Pro W3" pitchFamily="80" charset="-128"/>
              <a:sym typeface="Gill Sans" pitchFamily="80" charset="0"/>
            </a:endParaRPr>
          </a:p>
        </p:txBody>
      </p:sp>
      <p:sp>
        <p:nvSpPr>
          <p:cNvPr id="81922" name="Rectangle 3"/>
          <p:cNvSpPr>
            <a:spLocks/>
          </p:cNvSpPr>
          <p:nvPr/>
        </p:nvSpPr>
        <p:spPr bwMode="auto">
          <a:xfrm rot="-5400000">
            <a:off x="411480" y="4383405"/>
            <a:ext cx="2560320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100" dirty="0"/>
              <a:t>Hours</a:t>
            </a:r>
          </a:p>
        </p:txBody>
      </p:sp>
      <p:sp>
        <p:nvSpPr>
          <p:cNvPr id="81923" name="Line 4"/>
          <p:cNvSpPr>
            <a:spLocks noChangeShapeType="1"/>
          </p:cNvSpPr>
          <p:nvPr/>
        </p:nvSpPr>
        <p:spPr bwMode="auto">
          <a:xfrm>
            <a:off x="2308860" y="5280660"/>
            <a:ext cx="5394960" cy="0"/>
          </a:xfrm>
          <a:prstGeom prst="line">
            <a:avLst/>
          </a:prstGeom>
          <a:noFill/>
          <a:ln w="25400">
            <a:solidFill>
              <a:srgbClr val="577AB1">
                <a:alpha val="50195"/>
              </a:srgbClr>
            </a:solidFill>
            <a:round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81924" name="Line 5"/>
          <p:cNvSpPr>
            <a:spLocks noChangeShapeType="1"/>
          </p:cNvSpPr>
          <p:nvPr/>
        </p:nvSpPr>
        <p:spPr bwMode="auto">
          <a:xfrm>
            <a:off x="2308860" y="3806190"/>
            <a:ext cx="5394960" cy="0"/>
          </a:xfrm>
          <a:prstGeom prst="line">
            <a:avLst/>
          </a:prstGeom>
          <a:noFill/>
          <a:ln w="25400">
            <a:solidFill>
              <a:srgbClr val="577AB1">
                <a:alpha val="50195"/>
              </a:srgbClr>
            </a:solidFill>
            <a:round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81925" name="Line 6"/>
          <p:cNvSpPr>
            <a:spLocks noChangeShapeType="1"/>
          </p:cNvSpPr>
          <p:nvPr/>
        </p:nvSpPr>
        <p:spPr bwMode="auto">
          <a:xfrm>
            <a:off x="2308860" y="4297680"/>
            <a:ext cx="5394960" cy="0"/>
          </a:xfrm>
          <a:prstGeom prst="line">
            <a:avLst/>
          </a:prstGeom>
          <a:noFill/>
          <a:ln w="25400">
            <a:solidFill>
              <a:srgbClr val="577AB1">
                <a:alpha val="50195"/>
              </a:srgbClr>
            </a:solidFill>
            <a:round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81926" name="Line 7"/>
          <p:cNvSpPr>
            <a:spLocks noChangeShapeType="1"/>
          </p:cNvSpPr>
          <p:nvPr/>
        </p:nvSpPr>
        <p:spPr bwMode="auto">
          <a:xfrm>
            <a:off x="2308860" y="4789170"/>
            <a:ext cx="5394960" cy="0"/>
          </a:xfrm>
          <a:prstGeom prst="line">
            <a:avLst/>
          </a:prstGeom>
          <a:noFill/>
          <a:ln w="25400">
            <a:solidFill>
              <a:srgbClr val="577AB1">
                <a:alpha val="50195"/>
              </a:srgbClr>
            </a:solidFill>
            <a:round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81927" name="Line 8"/>
          <p:cNvSpPr>
            <a:spLocks noChangeShapeType="1"/>
          </p:cNvSpPr>
          <p:nvPr/>
        </p:nvSpPr>
        <p:spPr bwMode="auto">
          <a:xfrm>
            <a:off x="2308860" y="5772150"/>
            <a:ext cx="5394960" cy="0"/>
          </a:xfrm>
          <a:prstGeom prst="line">
            <a:avLst/>
          </a:prstGeom>
          <a:noFill/>
          <a:ln w="25400">
            <a:solidFill>
              <a:srgbClr val="577AB1">
                <a:alpha val="50195"/>
              </a:srgbClr>
            </a:solidFill>
            <a:round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81928" name="Rectangle 9"/>
          <p:cNvSpPr>
            <a:spLocks/>
          </p:cNvSpPr>
          <p:nvPr/>
        </p:nvSpPr>
        <p:spPr bwMode="auto">
          <a:xfrm>
            <a:off x="1771650" y="3617595"/>
            <a:ext cx="491490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r"/>
            <a:r>
              <a:rPr lang="en-US" sz="2100" dirty="0"/>
              <a:t>40</a:t>
            </a:r>
          </a:p>
        </p:txBody>
      </p:sp>
      <p:sp>
        <p:nvSpPr>
          <p:cNvPr id="81929" name="Rectangle 10"/>
          <p:cNvSpPr>
            <a:spLocks/>
          </p:cNvSpPr>
          <p:nvPr/>
        </p:nvSpPr>
        <p:spPr bwMode="auto">
          <a:xfrm>
            <a:off x="1771650" y="4109085"/>
            <a:ext cx="491490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r"/>
            <a:r>
              <a:rPr lang="en-US" sz="2100" dirty="0"/>
              <a:t>30</a:t>
            </a:r>
          </a:p>
        </p:txBody>
      </p:sp>
      <p:sp>
        <p:nvSpPr>
          <p:cNvPr id="81930" name="Rectangle 11"/>
          <p:cNvSpPr>
            <a:spLocks/>
          </p:cNvSpPr>
          <p:nvPr/>
        </p:nvSpPr>
        <p:spPr bwMode="auto">
          <a:xfrm>
            <a:off x="1771650" y="4600575"/>
            <a:ext cx="491490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r"/>
            <a:r>
              <a:rPr lang="en-US" sz="2100" dirty="0"/>
              <a:t>20</a:t>
            </a:r>
          </a:p>
        </p:txBody>
      </p:sp>
      <p:sp>
        <p:nvSpPr>
          <p:cNvPr id="81931" name="Rectangle 12"/>
          <p:cNvSpPr>
            <a:spLocks/>
          </p:cNvSpPr>
          <p:nvPr/>
        </p:nvSpPr>
        <p:spPr bwMode="auto">
          <a:xfrm>
            <a:off x="1771650" y="5092065"/>
            <a:ext cx="491490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r"/>
            <a:r>
              <a:rPr lang="en-US" sz="2100" dirty="0"/>
              <a:t>10</a:t>
            </a:r>
          </a:p>
        </p:txBody>
      </p:sp>
      <p:sp>
        <p:nvSpPr>
          <p:cNvPr id="81932" name="Rectangle 13"/>
          <p:cNvSpPr>
            <a:spLocks/>
          </p:cNvSpPr>
          <p:nvPr/>
        </p:nvSpPr>
        <p:spPr bwMode="auto">
          <a:xfrm>
            <a:off x="1771650" y="5560695"/>
            <a:ext cx="491490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r"/>
            <a:r>
              <a:rPr lang="en-US" sz="2100" dirty="0"/>
              <a:t>0</a:t>
            </a:r>
          </a:p>
        </p:txBody>
      </p:sp>
      <p:sp>
        <p:nvSpPr>
          <p:cNvPr id="81933" name="Rectangle 14"/>
          <p:cNvSpPr>
            <a:spLocks/>
          </p:cNvSpPr>
          <p:nvPr/>
        </p:nvSpPr>
        <p:spPr bwMode="auto">
          <a:xfrm>
            <a:off x="2411730" y="5720715"/>
            <a:ext cx="594360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100" dirty="0"/>
              <a:t>Mon</a:t>
            </a:r>
          </a:p>
        </p:txBody>
      </p:sp>
      <p:sp>
        <p:nvSpPr>
          <p:cNvPr id="81934" name="Rectangle 15"/>
          <p:cNvSpPr>
            <a:spLocks/>
          </p:cNvSpPr>
          <p:nvPr/>
        </p:nvSpPr>
        <p:spPr bwMode="auto">
          <a:xfrm>
            <a:off x="3497580" y="5720715"/>
            <a:ext cx="594360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100" dirty="0"/>
              <a:t>Tue</a:t>
            </a:r>
          </a:p>
        </p:txBody>
      </p:sp>
      <p:sp>
        <p:nvSpPr>
          <p:cNvPr id="81935" name="Rectangle 16"/>
          <p:cNvSpPr>
            <a:spLocks/>
          </p:cNvSpPr>
          <p:nvPr/>
        </p:nvSpPr>
        <p:spPr bwMode="auto">
          <a:xfrm>
            <a:off x="4583430" y="5720715"/>
            <a:ext cx="594360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100" dirty="0"/>
              <a:t>Wed</a:t>
            </a:r>
          </a:p>
        </p:txBody>
      </p:sp>
      <p:sp>
        <p:nvSpPr>
          <p:cNvPr id="81936" name="Rectangle 17"/>
          <p:cNvSpPr>
            <a:spLocks/>
          </p:cNvSpPr>
          <p:nvPr/>
        </p:nvSpPr>
        <p:spPr bwMode="auto">
          <a:xfrm>
            <a:off x="5669280" y="5720715"/>
            <a:ext cx="594360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100" dirty="0"/>
              <a:t>Thu</a:t>
            </a:r>
          </a:p>
        </p:txBody>
      </p:sp>
      <p:sp>
        <p:nvSpPr>
          <p:cNvPr id="81937" name="Rectangle 18"/>
          <p:cNvSpPr>
            <a:spLocks/>
          </p:cNvSpPr>
          <p:nvPr/>
        </p:nvSpPr>
        <p:spPr bwMode="auto">
          <a:xfrm>
            <a:off x="6755130" y="5720715"/>
            <a:ext cx="594360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100" dirty="0"/>
              <a:t>Fri</a:t>
            </a:r>
          </a:p>
        </p:txBody>
      </p:sp>
      <p:sp>
        <p:nvSpPr>
          <p:cNvPr id="101395" name="Rectangle 19"/>
          <p:cNvSpPr>
            <a:spLocks/>
          </p:cNvSpPr>
          <p:nvPr/>
        </p:nvSpPr>
        <p:spPr bwMode="auto">
          <a:xfrm>
            <a:off x="628650" y="205740"/>
            <a:ext cx="3314700" cy="445770"/>
          </a:xfrm>
          <a:prstGeom prst="rect">
            <a:avLst/>
          </a:prstGeom>
          <a:solidFill>
            <a:srgbClr val="3C88DC"/>
          </a:solidFill>
          <a:ln w="25400">
            <a:solidFill>
              <a:schemeClr val="tx1"/>
            </a:solidFill>
            <a:miter lim="800000"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0" tIns="0" rIns="0" bIns="0" anchor="ctr"/>
          <a:lstStyle/>
          <a:p>
            <a:pPr>
              <a:tabLst>
                <a:tab pos="960120" algn="l"/>
              </a:tabLst>
              <a:defRPr/>
            </a:pPr>
            <a:r>
              <a:rPr lang="en-US" sz="2800" dirty="0">
                <a:solidFill>
                  <a:srgbClr val="FFFFFF"/>
                </a:solidFill>
                <a:latin typeface="Gill Sans" pitchFamily="80" charset="0"/>
                <a:ea typeface="Gill Sans" pitchFamily="80" charset="0"/>
                <a:cs typeface="Gill Sans" pitchFamily="80" charset="0"/>
                <a:sym typeface="Gill Sans" pitchFamily="80" charset="0"/>
              </a:rPr>
              <a:t>Tasks</a:t>
            </a:r>
          </a:p>
        </p:txBody>
      </p:sp>
      <p:sp>
        <p:nvSpPr>
          <p:cNvPr id="81939" name="Rectangle 20"/>
          <p:cNvSpPr>
            <a:spLocks/>
          </p:cNvSpPr>
          <p:nvPr/>
        </p:nvSpPr>
        <p:spPr bwMode="auto">
          <a:xfrm>
            <a:off x="628650" y="651510"/>
            <a:ext cx="4034790" cy="445770"/>
          </a:xfrm>
          <a:prstGeom prst="rect">
            <a:avLst/>
          </a:prstGeom>
          <a:solidFill>
            <a:srgbClr val="E6E6E6"/>
          </a:solidFill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lIns="57150" tIns="57150" rIns="57150" bIns="57150" anchor="ctr"/>
          <a:lstStyle/>
          <a:p>
            <a:pPr algn="l"/>
            <a:r>
              <a:rPr lang="en-US" sz="2300" dirty="0"/>
              <a:t>Code the user interface</a:t>
            </a:r>
          </a:p>
        </p:txBody>
      </p:sp>
      <p:sp>
        <p:nvSpPr>
          <p:cNvPr id="81940" name="Rectangle 21"/>
          <p:cNvSpPr>
            <a:spLocks/>
          </p:cNvSpPr>
          <p:nvPr/>
        </p:nvSpPr>
        <p:spPr bwMode="auto">
          <a:xfrm>
            <a:off x="628650" y="1097280"/>
            <a:ext cx="3314700" cy="445770"/>
          </a:xfrm>
          <a:prstGeom prst="rect">
            <a:avLst/>
          </a:prstGeom>
          <a:solidFill>
            <a:srgbClr val="E6E6E6"/>
          </a:solidFill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lIns="57150" tIns="57150" rIns="57150" bIns="57150" anchor="ctr"/>
          <a:lstStyle/>
          <a:p>
            <a:pPr algn="l"/>
            <a:r>
              <a:rPr lang="en-US" sz="2300" dirty="0"/>
              <a:t>Code the middle tier</a:t>
            </a:r>
          </a:p>
        </p:txBody>
      </p:sp>
      <p:sp>
        <p:nvSpPr>
          <p:cNvPr id="81941" name="Rectangle 22"/>
          <p:cNvSpPr>
            <a:spLocks/>
          </p:cNvSpPr>
          <p:nvPr/>
        </p:nvSpPr>
        <p:spPr bwMode="auto">
          <a:xfrm>
            <a:off x="628650" y="1543050"/>
            <a:ext cx="3314700" cy="445770"/>
          </a:xfrm>
          <a:prstGeom prst="rect">
            <a:avLst/>
          </a:prstGeom>
          <a:solidFill>
            <a:srgbClr val="E6E6E6"/>
          </a:solidFill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lIns="57150" tIns="57150" rIns="57150" bIns="57150" anchor="ctr"/>
          <a:lstStyle/>
          <a:p>
            <a:pPr algn="l"/>
            <a:r>
              <a:rPr lang="en-US" sz="2300" dirty="0"/>
              <a:t>Test the middle tier</a:t>
            </a:r>
          </a:p>
        </p:txBody>
      </p:sp>
      <p:sp>
        <p:nvSpPr>
          <p:cNvPr id="81942" name="Rectangle 23"/>
          <p:cNvSpPr>
            <a:spLocks/>
          </p:cNvSpPr>
          <p:nvPr/>
        </p:nvSpPr>
        <p:spPr bwMode="auto">
          <a:xfrm>
            <a:off x="628650" y="1988820"/>
            <a:ext cx="3314700" cy="445770"/>
          </a:xfrm>
          <a:prstGeom prst="rect">
            <a:avLst/>
          </a:prstGeom>
          <a:solidFill>
            <a:srgbClr val="E6E6E6"/>
          </a:solidFill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lIns="57150" tIns="57150" rIns="57150" bIns="57150" anchor="ctr"/>
          <a:lstStyle/>
          <a:p>
            <a:pPr algn="l"/>
            <a:r>
              <a:rPr lang="en-US" sz="2300" dirty="0"/>
              <a:t>Write online help</a:t>
            </a:r>
          </a:p>
        </p:txBody>
      </p:sp>
      <p:sp>
        <p:nvSpPr>
          <p:cNvPr id="101400" name="Rectangle 24"/>
          <p:cNvSpPr>
            <a:spLocks/>
          </p:cNvSpPr>
          <p:nvPr/>
        </p:nvSpPr>
        <p:spPr bwMode="auto">
          <a:xfrm>
            <a:off x="3943350" y="205740"/>
            <a:ext cx="914400" cy="445770"/>
          </a:xfrm>
          <a:prstGeom prst="rect">
            <a:avLst/>
          </a:prstGeom>
          <a:solidFill>
            <a:srgbClr val="3C88DC"/>
          </a:solidFill>
          <a:ln w="25400">
            <a:solidFill>
              <a:schemeClr val="tx1"/>
            </a:solidFill>
            <a:miter lim="800000"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0" tIns="0" rIns="0" bIns="0" anchor="ctr"/>
          <a:lstStyle/>
          <a:p>
            <a:pPr>
              <a:tabLst>
                <a:tab pos="960120" algn="l"/>
              </a:tabLst>
              <a:defRPr/>
            </a:pPr>
            <a:r>
              <a:rPr lang="en-US" sz="2800" dirty="0">
                <a:solidFill>
                  <a:srgbClr val="FFFFFF"/>
                </a:solidFill>
                <a:latin typeface="Gill Sans" pitchFamily="80" charset="0"/>
                <a:ea typeface="Gill Sans" pitchFamily="80" charset="0"/>
                <a:cs typeface="Gill Sans" pitchFamily="80" charset="0"/>
                <a:sym typeface="Gill Sans" pitchFamily="80" charset="0"/>
              </a:rPr>
              <a:t>Mon</a:t>
            </a:r>
          </a:p>
        </p:txBody>
      </p:sp>
      <p:sp>
        <p:nvSpPr>
          <p:cNvPr id="81944" name="Rectangle 25"/>
          <p:cNvSpPr>
            <a:spLocks/>
          </p:cNvSpPr>
          <p:nvPr/>
        </p:nvSpPr>
        <p:spPr bwMode="auto">
          <a:xfrm>
            <a:off x="3943350" y="651510"/>
            <a:ext cx="914400" cy="445770"/>
          </a:xfrm>
          <a:prstGeom prst="rect">
            <a:avLst/>
          </a:prstGeom>
          <a:solidFill>
            <a:srgbClr val="E6E6E6"/>
          </a:solidFill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lIns="57150" tIns="57150" rIns="182761" bIns="57150" anchor="ctr"/>
          <a:lstStyle/>
          <a:p>
            <a:pPr algn="r"/>
            <a:r>
              <a:rPr lang="en-US" sz="2300" dirty="0"/>
              <a:t>8</a:t>
            </a:r>
          </a:p>
        </p:txBody>
      </p:sp>
      <p:sp>
        <p:nvSpPr>
          <p:cNvPr id="81945" name="Rectangle 26"/>
          <p:cNvSpPr>
            <a:spLocks/>
          </p:cNvSpPr>
          <p:nvPr/>
        </p:nvSpPr>
        <p:spPr bwMode="auto">
          <a:xfrm>
            <a:off x="3943350" y="1097280"/>
            <a:ext cx="914400" cy="445770"/>
          </a:xfrm>
          <a:prstGeom prst="rect">
            <a:avLst/>
          </a:prstGeom>
          <a:solidFill>
            <a:srgbClr val="E6E6E6"/>
          </a:solidFill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lIns="57150" tIns="57150" rIns="182761" bIns="57150" anchor="ctr"/>
          <a:lstStyle/>
          <a:p>
            <a:pPr algn="r"/>
            <a:r>
              <a:rPr lang="en-US" sz="2300" dirty="0"/>
              <a:t>16</a:t>
            </a:r>
          </a:p>
        </p:txBody>
      </p:sp>
      <p:sp>
        <p:nvSpPr>
          <p:cNvPr id="81946" name="Rectangle 27"/>
          <p:cNvSpPr>
            <a:spLocks/>
          </p:cNvSpPr>
          <p:nvPr/>
        </p:nvSpPr>
        <p:spPr bwMode="auto">
          <a:xfrm>
            <a:off x="3943350" y="1543050"/>
            <a:ext cx="914400" cy="445770"/>
          </a:xfrm>
          <a:prstGeom prst="rect">
            <a:avLst/>
          </a:prstGeom>
          <a:solidFill>
            <a:srgbClr val="E6E6E6"/>
          </a:solidFill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lIns="57150" tIns="57150" rIns="182761" bIns="57150" anchor="ctr"/>
          <a:lstStyle/>
          <a:p>
            <a:pPr algn="r"/>
            <a:r>
              <a:rPr lang="en-US" sz="2300" dirty="0"/>
              <a:t>8</a:t>
            </a:r>
          </a:p>
        </p:txBody>
      </p:sp>
      <p:sp>
        <p:nvSpPr>
          <p:cNvPr id="81947" name="Rectangle 28"/>
          <p:cNvSpPr>
            <a:spLocks/>
          </p:cNvSpPr>
          <p:nvPr/>
        </p:nvSpPr>
        <p:spPr bwMode="auto">
          <a:xfrm>
            <a:off x="3943350" y="1988820"/>
            <a:ext cx="914400" cy="445770"/>
          </a:xfrm>
          <a:prstGeom prst="rect">
            <a:avLst/>
          </a:prstGeom>
          <a:solidFill>
            <a:srgbClr val="E6E6E6"/>
          </a:solidFill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lIns="57150" tIns="57150" rIns="182761" bIns="57150" anchor="ctr"/>
          <a:lstStyle/>
          <a:p>
            <a:pPr algn="r"/>
            <a:r>
              <a:rPr lang="en-US" sz="2300" dirty="0"/>
              <a:t>12</a:t>
            </a:r>
          </a:p>
        </p:txBody>
      </p:sp>
      <p:sp>
        <p:nvSpPr>
          <p:cNvPr id="101405" name="Rectangle 29"/>
          <p:cNvSpPr>
            <a:spLocks/>
          </p:cNvSpPr>
          <p:nvPr/>
        </p:nvSpPr>
        <p:spPr bwMode="auto">
          <a:xfrm>
            <a:off x="4857750" y="205740"/>
            <a:ext cx="914400" cy="445770"/>
          </a:xfrm>
          <a:prstGeom prst="rect">
            <a:avLst/>
          </a:prstGeom>
          <a:solidFill>
            <a:srgbClr val="3C88DC"/>
          </a:solidFill>
          <a:ln w="25400">
            <a:solidFill>
              <a:schemeClr val="tx1"/>
            </a:solidFill>
            <a:miter lim="800000"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0" tIns="0" rIns="0" bIns="0" anchor="ctr"/>
          <a:lstStyle/>
          <a:p>
            <a:pPr>
              <a:tabLst>
                <a:tab pos="960120" algn="l"/>
              </a:tabLst>
              <a:defRPr/>
            </a:pPr>
            <a:r>
              <a:rPr lang="en-US" sz="2800" dirty="0">
                <a:solidFill>
                  <a:srgbClr val="FFFFFF"/>
                </a:solidFill>
                <a:latin typeface="Gill Sans" pitchFamily="80" charset="0"/>
                <a:ea typeface="Gill Sans" pitchFamily="80" charset="0"/>
                <a:cs typeface="Gill Sans" pitchFamily="80" charset="0"/>
                <a:sym typeface="Gill Sans" pitchFamily="80" charset="0"/>
              </a:rPr>
              <a:t>Tues</a:t>
            </a:r>
          </a:p>
        </p:txBody>
      </p:sp>
      <p:sp>
        <p:nvSpPr>
          <p:cNvPr id="101406" name="Rectangle 30"/>
          <p:cNvSpPr>
            <a:spLocks/>
          </p:cNvSpPr>
          <p:nvPr/>
        </p:nvSpPr>
        <p:spPr bwMode="auto">
          <a:xfrm>
            <a:off x="5772150" y="205740"/>
            <a:ext cx="914400" cy="445770"/>
          </a:xfrm>
          <a:prstGeom prst="rect">
            <a:avLst/>
          </a:prstGeom>
          <a:solidFill>
            <a:srgbClr val="3C88DC"/>
          </a:solidFill>
          <a:ln w="25400">
            <a:solidFill>
              <a:schemeClr val="tx1"/>
            </a:solidFill>
            <a:miter lim="800000"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0" tIns="0" rIns="0" bIns="0" anchor="ctr"/>
          <a:lstStyle/>
          <a:p>
            <a:pPr>
              <a:tabLst>
                <a:tab pos="960120" algn="l"/>
              </a:tabLst>
              <a:defRPr/>
            </a:pPr>
            <a:r>
              <a:rPr lang="en-US" sz="2800" dirty="0">
                <a:solidFill>
                  <a:srgbClr val="FFFFFF"/>
                </a:solidFill>
                <a:latin typeface="Gill Sans" pitchFamily="80" charset="0"/>
                <a:ea typeface="Gill Sans" pitchFamily="80" charset="0"/>
                <a:cs typeface="Gill Sans" pitchFamily="80" charset="0"/>
                <a:sym typeface="Gill Sans" pitchFamily="80" charset="0"/>
              </a:rPr>
              <a:t>Wed</a:t>
            </a:r>
          </a:p>
        </p:txBody>
      </p:sp>
      <p:sp>
        <p:nvSpPr>
          <p:cNvPr id="101407" name="Rectangle 31"/>
          <p:cNvSpPr>
            <a:spLocks/>
          </p:cNvSpPr>
          <p:nvPr/>
        </p:nvSpPr>
        <p:spPr bwMode="auto">
          <a:xfrm>
            <a:off x="6686550" y="205740"/>
            <a:ext cx="914400" cy="445770"/>
          </a:xfrm>
          <a:prstGeom prst="rect">
            <a:avLst/>
          </a:prstGeom>
          <a:solidFill>
            <a:srgbClr val="3C88DC"/>
          </a:solidFill>
          <a:ln w="25400">
            <a:solidFill>
              <a:schemeClr val="tx1"/>
            </a:solidFill>
            <a:miter lim="800000"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0" tIns="0" rIns="0" bIns="0" anchor="ctr"/>
          <a:lstStyle/>
          <a:p>
            <a:pPr>
              <a:tabLst>
                <a:tab pos="960120" algn="l"/>
              </a:tabLst>
              <a:defRPr/>
            </a:pPr>
            <a:r>
              <a:rPr lang="en-US" sz="2800" dirty="0" err="1">
                <a:solidFill>
                  <a:srgbClr val="FFFFFF"/>
                </a:solidFill>
                <a:latin typeface="Gill Sans" pitchFamily="80" charset="0"/>
                <a:ea typeface="Gill Sans" pitchFamily="80" charset="0"/>
                <a:cs typeface="Gill Sans" pitchFamily="80" charset="0"/>
                <a:sym typeface="Gill Sans" pitchFamily="80" charset="0"/>
              </a:rPr>
              <a:t>Thur</a:t>
            </a:r>
            <a:endParaRPr lang="en-US" sz="2800" dirty="0">
              <a:solidFill>
                <a:srgbClr val="FFFFFF"/>
              </a:solidFill>
              <a:latin typeface="Gill Sans" pitchFamily="80" charset="0"/>
              <a:ea typeface="Gill Sans" pitchFamily="80" charset="0"/>
              <a:cs typeface="Gill Sans" pitchFamily="80" charset="0"/>
              <a:sym typeface="Gill Sans" pitchFamily="80" charset="0"/>
            </a:endParaRPr>
          </a:p>
        </p:txBody>
      </p:sp>
      <p:sp>
        <p:nvSpPr>
          <p:cNvPr id="101408" name="Rectangle 32"/>
          <p:cNvSpPr>
            <a:spLocks/>
          </p:cNvSpPr>
          <p:nvPr/>
        </p:nvSpPr>
        <p:spPr bwMode="auto">
          <a:xfrm>
            <a:off x="7600950" y="205740"/>
            <a:ext cx="914400" cy="445770"/>
          </a:xfrm>
          <a:prstGeom prst="rect">
            <a:avLst/>
          </a:prstGeom>
          <a:solidFill>
            <a:srgbClr val="3C88DC"/>
          </a:solidFill>
          <a:ln w="25400">
            <a:solidFill>
              <a:schemeClr val="tx1"/>
            </a:solidFill>
            <a:miter lim="800000"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0" tIns="0" rIns="0" bIns="0" anchor="ctr"/>
          <a:lstStyle/>
          <a:p>
            <a:pPr>
              <a:tabLst>
                <a:tab pos="960120" algn="l"/>
              </a:tabLst>
              <a:defRPr/>
            </a:pPr>
            <a:r>
              <a:rPr lang="en-US" sz="2800" dirty="0">
                <a:solidFill>
                  <a:srgbClr val="FFFFFF"/>
                </a:solidFill>
                <a:latin typeface="Gill Sans" pitchFamily="80" charset="0"/>
                <a:ea typeface="Gill Sans" pitchFamily="80" charset="0"/>
                <a:cs typeface="Gill Sans" pitchFamily="80" charset="0"/>
                <a:sym typeface="Gill Sans" pitchFamily="80" charset="0"/>
              </a:rPr>
              <a:t>Fri</a:t>
            </a:r>
          </a:p>
        </p:txBody>
      </p:sp>
      <p:sp>
        <p:nvSpPr>
          <p:cNvPr id="81952" name="Line 33"/>
          <p:cNvSpPr>
            <a:spLocks noChangeShapeType="1"/>
          </p:cNvSpPr>
          <p:nvPr/>
        </p:nvSpPr>
        <p:spPr bwMode="auto">
          <a:xfrm>
            <a:off x="2308860" y="3314700"/>
            <a:ext cx="5394960" cy="0"/>
          </a:xfrm>
          <a:prstGeom prst="line">
            <a:avLst/>
          </a:prstGeom>
          <a:noFill/>
          <a:ln w="25400">
            <a:solidFill>
              <a:srgbClr val="577AB1">
                <a:alpha val="50195"/>
              </a:srgbClr>
            </a:solidFill>
            <a:round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101410" name="Line 34"/>
          <p:cNvSpPr>
            <a:spLocks noChangeShapeType="1"/>
          </p:cNvSpPr>
          <p:nvPr/>
        </p:nvSpPr>
        <p:spPr bwMode="auto">
          <a:xfrm>
            <a:off x="2736057" y="3543300"/>
            <a:ext cx="1042988" cy="707232"/>
          </a:xfrm>
          <a:prstGeom prst="line">
            <a:avLst/>
          </a:prstGeom>
          <a:noFill/>
          <a:ln w="38100">
            <a:solidFill>
              <a:srgbClr val="023E7F"/>
            </a:solidFill>
            <a:round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101411" name="Oval 35"/>
          <p:cNvSpPr>
            <a:spLocks/>
          </p:cNvSpPr>
          <p:nvPr/>
        </p:nvSpPr>
        <p:spPr bwMode="auto">
          <a:xfrm>
            <a:off x="2571750" y="3394710"/>
            <a:ext cx="262890" cy="262890"/>
          </a:xfrm>
          <a:prstGeom prst="ellipse">
            <a:avLst/>
          </a:prstGeom>
          <a:solidFill>
            <a:srgbClr val="0887E2"/>
          </a:solidFill>
          <a:ln w="25400">
            <a:solidFill>
              <a:srgbClr val="023E7F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82296" tIns="41148" rIns="82296" bIns="41148"/>
          <a:lstStyle/>
          <a:p>
            <a:pPr>
              <a:defRPr/>
            </a:pPr>
            <a:endParaRPr lang="en-US">
              <a:latin typeface="Gill Sans" pitchFamily="80" charset="0"/>
              <a:ea typeface="ヒラギノ角ゴ Pro W3" pitchFamily="80" charset="-128"/>
              <a:sym typeface="Gill Sans" pitchFamily="80" charset="0"/>
            </a:endParaRPr>
          </a:p>
        </p:txBody>
      </p:sp>
      <p:sp>
        <p:nvSpPr>
          <p:cNvPr id="101412" name="Oval 36"/>
          <p:cNvSpPr>
            <a:spLocks/>
          </p:cNvSpPr>
          <p:nvPr/>
        </p:nvSpPr>
        <p:spPr bwMode="auto">
          <a:xfrm>
            <a:off x="4400550" y="2526030"/>
            <a:ext cx="262890" cy="262890"/>
          </a:xfrm>
          <a:prstGeom prst="ellipse">
            <a:avLst/>
          </a:prstGeom>
          <a:solidFill>
            <a:srgbClr val="0887E2"/>
          </a:solidFill>
          <a:ln w="25400">
            <a:solidFill>
              <a:srgbClr val="023E7F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82296" tIns="41148" rIns="82296" bIns="41148"/>
          <a:lstStyle/>
          <a:p>
            <a:pPr>
              <a:defRPr/>
            </a:pPr>
            <a:endParaRPr lang="en-US">
              <a:latin typeface="Gill Sans" pitchFamily="80" charset="0"/>
              <a:ea typeface="ヒラギノ角ゴ Pro W3" pitchFamily="80" charset="-128"/>
              <a:sym typeface="Gill Sans" pitchFamily="80" charset="0"/>
            </a:endParaRPr>
          </a:p>
        </p:txBody>
      </p:sp>
      <p:sp>
        <p:nvSpPr>
          <p:cNvPr id="101413" name="Oval 37"/>
          <p:cNvSpPr>
            <a:spLocks/>
          </p:cNvSpPr>
          <p:nvPr/>
        </p:nvSpPr>
        <p:spPr bwMode="auto">
          <a:xfrm>
            <a:off x="5314950" y="2526030"/>
            <a:ext cx="262890" cy="262890"/>
          </a:xfrm>
          <a:prstGeom prst="ellipse">
            <a:avLst/>
          </a:prstGeom>
          <a:solidFill>
            <a:srgbClr val="0887E2"/>
          </a:solidFill>
          <a:ln w="25400">
            <a:solidFill>
              <a:srgbClr val="023E7F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82296" tIns="41148" rIns="82296" bIns="41148"/>
          <a:lstStyle/>
          <a:p>
            <a:pPr>
              <a:defRPr/>
            </a:pPr>
            <a:endParaRPr lang="en-US">
              <a:latin typeface="Gill Sans" pitchFamily="80" charset="0"/>
              <a:ea typeface="ヒラギノ角ゴ Pro W3" pitchFamily="80" charset="-128"/>
              <a:sym typeface="Gill Sans" pitchFamily="80" charset="0"/>
            </a:endParaRPr>
          </a:p>
        </p:txBody>
      </p:sp>
      <p:sp>
        <p:nvSpPr>
          <p:cNvPr id="101414" name="Oval 38"/>
          <p:cNvSpPr>
            <a:spLocks/>
          </p:cNvSpPr>
          <p:nvPr/>
        </p:nvSpPr>
        <p:spPr bwMode="auto">
          <a:xfrm>
            <a:off x="6229350" y="2526030"/>
            <a:ext cx="262890" cy="262890"/>
          </a:xfrm>
          <a:prstGeom prst="ellipse">
            <a:avLst/>
          </a:prstGeom>
          <a:solidFill>
            <a:srgbClr val="0887E2"/>
          </a:solidFill>
          <a:ln w="25400">
            <a:solidFill>
              <a:srgbClr val="023E7F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82296" tIns="41148" rIns="82296" bIns="41148"/>
          <a:lstStyle/>
          <a:p>
            <a:pPr>
              <a:defRPr/>
            </a:pPr>
            <a:endParaRPr lang="en-US">
              <a:latin typeface="Gill Sans" pitchFamily="80" charset="0"/>
              <a:ea typeface="ヒラギノ角ゴ Pro W3" pitchFamily="80" charset="-128"/>
              <a:sym typeface="Gill Sans" pitchFamily="80" charset="0"/>
            </a:endParaRPr>
          </a:p>
        </p:txBody>
      </p:sp>
      <p:sp>
        <p:nvSpPr>
          <p:cNvPr id="101415" name="Oval 39"/>
          <p:cNvSpPr>
            <a:spLocks/>
          </p:cNvSpPr>
          <p:nvPr/>
        </p:nvSpPr>
        <p:spPr bwMode="auto">
          <a:xfrm>
            <a:off x="7143750" y="2526030"/>
            <a:ext cx="262890" cy="262890"/>
          </a:xfrm>
          <a:prstGeom prst="ellipse">
            <a:avLst/>
          </a:prstGeom>
          <a:solidFill>
            <a:srgbClr val="0887E2"/>
          </a:solidFill>
          <a:ln w="25400">
            <a:solidFill>
              <a:srgbClr val="023E7F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82296" tIns="41148" rIns="82296" bIns="41148"/>
          <a:lstStyle/>
          <a:p>
            <a:pPr>
              <a:defRPr/>
            </a:pPr>
            <a:endParaRPr lang="en-US">
              <a:latin typeface="Gill Sans" pitchFamily="80" charset="0"/>
              <a:ea typeface="ヒラギノ角ゴ Pro W3" pitchFamily="80" charset="-128"/>
              <a:sym typeface="Gill Sans" pitchFamily="80" charset="0"/>
            </a:endParaRPr>
          </a:p>
        </p:txBody>
      </p:sp>
      <p:sp>
        <p:nvSpPr>
          <p:cNvPr id="101416" name="Oval 40"/>
          <p:cNvSpPr>
            <a:spLocks/>
          </p:cNvSpPr>
          <p:nvPr/>
        </p:nvSpPr>
        <p:spPr bwMode="auto">
          <a:xfrm>
            <a:off x="8058150" y="2526030"/>
            <a:ext cx="262890" cy="262890"/>
          </a:xfrm>
          <a:prstGeom prst="ellipse">
            <a:avLst/>
          </a:prstGeom>
          <a:solidFill>
            <a:srgbClr val="0887E2"/>
          </a:solidFill>
          <a:ln w="25400">
            <a:solidFill>
              <a:srgbClr val="023E7F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82296" tIns="41148" rIns="82296" bIns="41148"/>
          <a:lstStyle/>
          <a:p>
            <a:pPr>
              <a:defRPr/>
            </a:pPr>
            <a:endParaRPr lang="en-US">
              <a:latin typeface="Gill Sans" pitchFamily="80" charset="0"/>
              <a:ea typeface="ヒラギノ角ゴ Pro W3" pitchFamily="80" charset="-128"/>
              <a:sym typeface="Gill Sans" pitchFamily="80" charset="0"/>
            </a:endParaRPr>
          </a:p>
        </p:txBody>
      </p:sp>
      <p:sp>
        <p:nvSpPr>
          <p:cNvPr id="101417" name="Line 41"/>
          <p:cNvSpPr>
            <a:spLocks noChangeShapeType="1"/>
          </p:cNvSpPr>
          <p:nvPr/>
        </p:nvSpPr>
        <p:spPr bwMode="auto">
          <a:xfrm rot="10800000" flipH="1">
            <a:off x="3787617" y="4124802"/>
            <a:ext cx="1101566" cy="134303"/>
          </a:xfrm>
          <a:prstGeom prst="line">
            <a:avLst/>
          </a:prstGeom>
          <a:noFill/>
          <a:ln w="38100">
            <a:solidFill>
              <a:srgbClr val="023E7F"/>
            </a:solidFill>
            <a:round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101418" name="Oval 42"/>
          <p:cNvSpPr>
            <a:spLocks/>
          </p:cNvSpPr>
          <p:nvPr/>
        </p:nvSpPr>
        <p:spPr bwMode="auto">
          <a:xfrm>
            <a:off x="3646170" y="4114800"/>
            <a:ext cx="262890" cy="262890"/>
          </a:xfrm>
          <a:prstGeom prst="ellipse">
            <a:avLst/>
          </a:prstGeom>
          <a:solidFill>
            <a:srgbClr val="0887E2"/>
          </a:solidFill>
          <a:ln w="25400">
            <a:solidFill>
              <a:srgbClr val="023E7F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82296" tIns="41148" rIns="82296" bIns="41148"/>
          <a:lstStyle/>
          <a:p>
            <a:pPr>
              <a:defRPr/>
            </a:pPr>
            <a:endParaRPr lang="en-US">
              <a:latin typeface="Gill Sans" pitchFamily="80" charset="0"/>
              <a:ea typeface="ヒラギノ角ゴ Pro W3" pitchFamily="80" charset="-128"/>
              <a:sym typeface="Gill Sans" pitchFamily="80" charset="0"/>
            </a:endParaRPr>
          </a:p>
        </p:txBody>
      </p:sp>
      <p:sp>
        <p:nvSpPr>
          <p:cNvPr id="101419" name="Line 43"/>
          <p:cNvSpPr>
            <a:spLocks noChangeShapeType="1"/>
          </p:cNvSpPr>
          <p:nvPr/>
        </p:nvSpPr>
        <p:spPr bwMode="auto">
          <a:xfrm>
            <a:off x="4872038" y="4141947"/>
            <a:ext cx="1120140" cy="790098"/>
          </a:xfrm>
          <a:prstGeom prst="line">
            <a:avLst/>
          </a:prstGeom>
          <a:noFill/>
          <a:ln w="38100">
            <a:solidFill>
              <a:srgbClr val="023E7F"/>
            </a:solidFill>
            <a:round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101420" name="Oval 44"/>
          <p:cNvSpPr>
            <a:spLocks/>
          </p:cNvSpPr>
          <p:nvPr/>
        </p:nvSpPr>
        <p:spPr bwMode="auto">
          <a:xfrm>
            <a:off x="4743450" y="4000500"/>
            <a:ext cx="262890" cy="262890"/>
          </a:xfrm>
          <a:prstGeom prst="ellipse">
            <a:avLst/>
          </a:prstGeom>
          <a:solidFill>
            <a:srgbClr val="0887E2"/>
          </a:solidFill>
          <a:ln w="25400">
            <a:solidFill>
              <a:srgbClr val="023E7F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82296" tIns="41148" rIns="82296" bIns="41148"/>
          <a:lstStyle/>
          <a:p>
            <a:pPr>
              <a:defRPr/>
            </a:pPr>
            <a:endParaRPr lang="en-US">
              <a:latin typeface="Gill Sans" pitchFamily="80" charset="0"/>
              <a:ea typeface="ヒラギノ角ゴ Pro W3" pitchFamily="80" charset="-128"/>
              <a:sym typeface="Gill Sans" pitchFamily="80" charset="0"/>
            </a:endParaRPr>
          </a:p>
        </p:txBody>
      </p:sp>
      <p:sp>
        <p:nvSpPr>
          <p:cNvPr id="101421" name="Line 45"/>
          <p:cNvSpPr>
            <a:spLocks noChangeShapeType="1"/>
          </p:cNvSpPr>
          <p:nvPr/>
        </p:nvSpPr>
        <p:spPr bwMode="auto">
          <a:xfrm>
            <a:off x="5966460" y="4914900"/>
            <a:ext cx="1100138" cy="485775"/>
          </a:xfrm>
          <a:prstGeom prst="line">
            <a:avLst/>
          </a:prstGeom>
          <a:noFill/>
          <a:ln w="38100">
            <a:solidFill>
              <a:srgbClr val="023E7F"/>
            </a:solidFill>
            <a:round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101422" name="Oval 46"/>
          <p:cNvSpPr>
            <a:spLocks/>
          </p:cNvSpPr>
          <p:nvPr/>
        </p:nvSpPr>
        <p:spPr bwMode="auto">
          <a:xfrm>
            <a:off x="6915150" y="5257800"/>
            <a:ext cx="262890" cy="262890"/>
          </a:xfrm>
          <a:prstGeom prst="ellipse">
            <a:avLst/>
          </a:prstGeom>
          <a:solidFill>
            <a:srgbClr val="0887E2"/>
          </a:solidFill>
          <a:ln w="25400">
            <a:solidFill>
              <a:srgbClr val="023E7F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82296" tIns="41148" rIns="82296" bIns="41148"/>
          <a:lstStyle/>
          <a:p>
            <a:pPr>
              <a:defRPr/>
            </a:pPr>
            <a:endParaRPr lang="en-US">
              <a:latin typeface="Gill Sans" pitchFamily="80" charset="0"/>
              <a:ea typeface="ヒラギノ角ゴ Pro W3" pitchFamily="80" charset="-128"/>
              <a:sym typeface="Gill Sans" pitchFamily="80" charset="0"/>
            </a:endParaRPr>
          </a:p>
        </p:txBody>
      </p:sp>
      <p:sp>
        <p:nvSpPr>
          <p:cNvPr id="101423" name="Oval 47"/>
          <p:cNvSpPr>
            <a:spLocks/>
          </p:cNvSpPr>
          <p:nvPr/>
        </p:nvSpPr>
        <p:spPr bwMode="auto">
          <a:xfrm>
            <a:off x="5829300" y="4777740"/>
            <a:ext cx="262890" cy="262890"/>
          </a:xfrm>
          <a:prstGeom prst="ellipse">
            <a:avLst/>
          </a:prstGeom>
          <a:solidFill>
            <a:srgbClr val="0887E2"/>
          </a:solidFill>
          <a:ln w="25400">
            <a:solidFill>
              <a:srgbClr val="023E7F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82296" tIns="41148" rIns="82296" bIns="41148"/>
          <a:lstStyle/>
          <a:p>
            <a:pPr>
              <a:defRPr/>
            </a:pPr>
            <a:endParaRPr lang="en-US">
              <a:latin typeface="Gill Sans" pitchFamily="80" charset="0"/>
              <a:ea typeface="ヒラギノ角ゴ Pro W3" pitchFamily="80" charset="-128"/>
              <a:sym typeface="Gill Sans" pitchFamily="80" charset="0"/>
            </a:endParaRPr>
          </a:p>
        </p:txBody>
      </p:sp>
      <p:grpSp>
        <p:nvGrpSpPr>
          <p:cNvPr id="2" name="Group 48"/>
          <p:cNvGrpSpPr>
            <a:grpSpLocks/>
          </p:cNvGrpSpPr>
          <p:nvPr/>
        </p:nvGrpSpPr>
        <p:grpSpPr bwMode="auto">
          <a:xfrm>
            <a:off x="5772150" y="651510"/>
            <a:ext cx="914400" cy="1783080"/>
            <a:chOff x="0" y="0"/>
            <a:chExt cx="640" cy="1248"/>
          </a:xfrm>
        </p:grpSpPr>
        <p:sp>
          <p:nvSpPr>
            <p:cNvPr id="82004" name="Rectangle 49"/>
            <p:cNvSpPr>
              <a:spLocks/>
            </p:cNvSpPr>
            <p:nvPr/>
          </p:nvSpPr>
          <p:spPr bwMode="auto">
            <a:xfrm>
              <a:off x="0" y="0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2005" name="Rectangle 50"/>
            <p:cNvSpPr>
              <a:spLocks/>
            </p:cNvSpPr>
            <p:nvPr/>
          </p:nvSpPr>
          <p:spPr bwMode="auto">
            <a:xfrm>
              <a:off x="0" y="312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2006" name="Rectangle 51"/>
            <p:cNvSpPr>
              <a:spLocks/>
            </p:cNvSpPr>
            <p:nvPr/>
          </p:nvSpPr>
          <p:spPr bwMode="auto">
            <a:xfrm>
              <a:off x="0" y="624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2007" name="Rectangle 52"/>
            <p:cNvSpPr>
              <a:spLocks/>
            </p:cNvSpPr>
            <p:nvPr/>
          </p:nvSpPr>
          <p:spPr bwMode="auto">
            <a:xfrm>
              <a:off x="0" y="936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3" name="Group 53"/>
          <p:cNvGrpSpPr>
            <a:grpSpLocks/>
          </p:cNvGrpSpPr>
          <p:nvPr/>
        </p:nvGrpSpPr>
        <p:grpSpPr bwMode="auto">
          <a:xfrm>
            <a:off x="4857750" y="651510"/>
            <a:ext cx="914400" cy="1783080"/>
            <a:chOff x="0" y="0"/>
            <a:chExt cx="640" cy="1248"/>
          </a:xfrm>
        </p:grpSpPr>
        <p:sp>
          <p:nvSpPr>
            <p:cNvPr id="82000" name="Rectangle 54"/>
            <p:cNvSpPr>
              <a:spLocks/>
            </p:cNvSpPr>
            <p:nvPr/>
          </p:nvSpPr>
          <p:spPr bwMode="auto">
            <a:xfrm>
              <a:off x="0" y="0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2001" name="Rectangle 55"/>
            <p:cNvSpPr>
              <a:spLocks/>
            </p:cNvSpPr>
            <p:nvPr/>
          </p:nvSpPr>
          <p:spPr bwMode="auto">
            <a:xfrm>
              <a:off x="0" y="312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2002" name="Rectangle 56"/>
            <p:cNvSpPr>
              <a:spLocks/>
            </p:cNvSpPr>
            <p:nvPr/>
          </p:nvSpPr>
          <p:spPr bwMode="auto">
            <a:xfrm>
              <a:off x="0" y="624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2003" name="Rectangle 57"/>
            <p:cNvSpPr>
              <a:spLocks/>
            </p:cNvSpPr>
            <p:nvPr/>
          </p:nvSpPr>
          <p:spPr bwMode="auto">
            <a:xfrm>
              <a:off x="0" y="936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4" name="Group 58"/>
          <p:cNvGrpSpPr>
            <a:grpSpLocks/>
          </p:cNvGrpSpPr>
          <p:nvPr/>
        </p:nvGrpSpPr>
        <p:grpSpPr bwMode="auto">
          <a:xfrm>
            <a:off x="7600950" y="651510"/>
            <a:ext cx="914400" cy="1783080"/>
            <a:chOff x="0" y="0"/>
            <a:chExt cx="640" cy="1248"/>
          </a:xfrm>
        </p:grpSpPr>
        <p:sp>
          <p:nvSpPr>
            <p:cNvPr id="81996" name="Rectangle 59"/>
            <p:cNvSpPr>
              <a:spLocks/>
            </p:cNvSpPr>
            <p:nvPr/>
          </p:nvSpPr>
          <p:spPr bwMode="auto">
            <a:xfrm>
              <a:off x="0" y="0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1997" name="Rectangle 60"/>
            <p:cNvSpPr>
              <a:spLocks/>
            </p:cNvSpPr>
            <p:nvPr/>
          </p:nvSpPr>
          <p:spPr bwMode="auto">
            <a:xfrm>
              <a:off x="0" y="312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1998" name="Rectangle 61"/>
            <p:cNvSpPr>
              <a:spLocks/>
            </p:cNvSpPr>
            <p:nvPr/>
          </p:nvSpPr>
          <p:spPr bwMode="auto">
            <a:xfrm>
              <a:off x="0" y="624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1999" name="Rectangle 62"/>
            <p:cNvSpPr>
              <a:spLocks/>
            </p:cNvSpPr>
            <p:nvPr/>
          </p:nvSpPr>
          <p:spPr bwMode="auto">
            <a:xfrm>
              <a:off x="0" y="936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5" name="Group 63"/>
          <p:cNvGrpSpPr>
            <a:grpSpLocks/>
          </p:cNvGrpSpPr>
          <p:nvPr/>
        </p:nvGrpSpPr>
        <p:grpSpPr bwMode="auto">
          <a:xfrm>
            <a:off x="6686550" y="651510"/>
            <a:ext cx="914400" cy="1783080"/>
            <a:chOff x="0" y="0"/>
            <a:chExt cx="640" cy="1248"/>
          </a:xfrm>
        </p:grpSpPr>
        <p:sp>
          <p:nvSpPr>
            <p:cNvPr id="81992" name="Rectangle 64"/>
            <p:cNvSpPr>
              <a:spLocks/>
            </p:cNvSpPr>
            <p:nvPr/>
          </p:nvSpPr>
          <p:spPr bwMode="auto">
            <a:xfrm>
              <a:off x="0" y="0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1993" name="Rectangle 65"/>
            <p:cNvSpPr>
              <a:spLocks/>
            </p:cNvSpPr>
            <p:nvPr/>
          </p:nvSpPr>
          <p:spPr bwMode="auto">
            <a:xfrm>
              <a:off x="0" y="312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1994" name="Rectangle 66"/>
            <p:cNvSpPr>
              <a:spLocks/>
            </p:cNvSpPr>
            <p:nvPr/>
          </p:nvSpPr>
          <p:spPr bwMode="auto">
            <a:xfrm>
              <a:off x="0" y="624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1995" name="Rectangle 67"/>
            <p:cNvSpPr>
              <a:spLocks/>
            </p:cNvSpPr>
            <p:nvPr/>
          </p:nvSpPr>
          <p:spPr bwMode="auto">
            <a:xfrm>
              <a:off x="0" y="936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6" name="Group 68"/>
          <p:cNvGrpSpPr>
            <a:grpSpLocks/>
          </p:cNvGrpSpPr>
          <p:nvPr/>
        </p:nvGrpSpPr>
        <p:grpSpPr bwMode="auto">
          <a:xfrm>
            <a:off x="4857750" y="651510"/>
            <a:ext cx="914400" cy="1783080"/>
            <a:chOff x="0" y="0"/>
            <a:chExt cx="640" cy="1248"/>
          </a:xfrm>
        </p:grpSpPr>
        <p:sp>
          <p:nvSpPr>
            <p:cNvPr id="81988" name="Rectangle 69"/>
            <p:cNvSpPr>
              <a:spLocks/>
            </p:cNvSpPr>
            <p:nvPr/>
          </p:nvSpPr>
          <p:spPr bwMode="auto">
            <a:xfrm>
              <a:off x="0" y="0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63500" tIns="63500" rIns="203068" bIns="63500" anchor="ctr"/>
            <a:lstStyle/>
            <a:p>
              <a:pPr algn="r"/>
              <a:r>
                <a:rPr lang="en-US" sz="2300" dirty="0"/>
                <a:t>4</a:t>
              </a:r>
            </a:p>
          </p:txBody>
        </p:sp>
        <p:sp>
          <p:nvSpPr>
            <p:cNvPr id="81989" name="Rectangle 70"/>
            <p:cNvSpPr>
              <a:spLocks/>
            </p:cNvSpPr>
            <p:nvPr/>
          </p:nvSpPr>
          <p:spPr bwMode="auto">
            <a:xfrm>
              <a:off x="0" y="312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63500" tIns="63500" rIns="203068" bIns="63500" anchor="ctr"/>
            <a:lstStyle/>
            <a:p>
              <a:pPr algn="r"/>
              <a:r>
                <a:rPr lang="en-US" sz="2300" dirty="0"/>
                <a:t>12</a:t>
              </a:r>
            </a:p>
          </p:txBody>
        </p:sp>
        <p:sp>
          <p:nvSpPr>
            <p:cNvPr id="81990" name="Rectangle 71"/>
            <p:cNvSpPr>
              <a:spLocks/>
            </p:cNvSpPr>
            <p:nvPr/>
          </p:nvSpPr>
          <p:spPr bwMode="auto">
            <a:xfrm>
              <a:off x="0" y="624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63500" tIns="63500" rIns="203068" bIns="63500" anchor="ctr"/>
            <a:lstStyle/>
            <a:p>
              <a:pPr algn="r"/>
              <a:r>
                <a:rPr lang="en-US" sz="2300" dirty="0"/>
                <a:t>16</a:t>
              </a:r>
            </a:p>
          </p:txBody>
        </p:sp>
        <p:sp>
          <p:nvSpPr>
            <p:cNvPr id="81991" name="Rectangle 72"/>
            <p:cNvSpPr>
              <a:spLocks/>
            </p:cNvSpPr>
            <p:nvPr/>
          </p:nvSpPr>
          <p:spPr bwMode="auto">
            <a:xfrm>
              <a:off x="0" y="936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7" name="Group 73"/>
          <p:cNvGrpSpPr>
            <a:grpSpLocks/>
          </p:cNvGrpSpPr>
          <p:nvPr/>
        </p:nvGrpSpPr>
        <p:grpSpPr bwMode="auto">
          <a:xfrm>
            <a:off x="6686550" y="651510"/>
            <a:ext cx="914400" cy="1783080"/>
            <a:chOff x="0" y="0"/>
            <a:chExt cx="640" cy="1248"/>
          </a:xfrm>
        </p:grpSpPr>
        <p:sp>
          <p:nvSpPr>
            <p:cNvPr id="81984" name="Rectangle 74"/>
            <p:cNvSpPr>
              <a:spLocks/>
            </p:cNvSpPr>
            <p:nvPr/>
          </p:nvSpPr>
          <p:spPr bwMode="auto">
            <a:xfrm>
              <a:off x="0" y="0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1985" name="Rectangle 75"/>
            <p:cNvSpPr>
              <a:spLocks/>
            </p:cNvSpPr>
            <p:nvPr/>
          </p:nvSpPr>
          <p:spPr bwMode="auto">
            <a:xfrm>
              <a:off x="0" y="312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63500" tIns="63500" rIns="203068" bIns="63500" anchor="ctr"/>
            <a:lstStyle/>
            <a:p>
              <a:pPr algn="r"/>
              <a:r>
                <a:rPr lang="en-US" sz="2300" dirty="0"/>
                <a:t>7</a:t>
              </a:r>
            </a:p>
          </p:txBody>
        </p:sp>
        <p:sp>
          <p:nvSpPr>
            <p:cNvPr id="81986" name="Rectangle 76"/>
            <p:cNvSpPr>
              <a:spLocks/>
            </p:cNvSpPr>
            <p:nvPr/>
          </p:nvSpPr>
          <p:spPr bwMode="auto">
            <a:xfrm>
              <a:off x="0" y="624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63500" tIns="63500" rIns="203068" bIns="63500" anchor="ctr"/>
            <a:lstStyle/>
            <a:p>
              <a:pPr algn="r"/>
              <a:r>
                <a:rPr lang="en-US" sz="2300" dirty="0"/>
                <a:t>11</a:t>
              </a:r>
            </a:p>
          </p:txBody>
        </p:sp>
        <p:sp>
          <p:nvSpPr>
            <p:cNvPr id="81987" name="Rectangle 77"/>
            <p:cNvSpPr>
              <a:spLocks/>
            </p:cNvSpPr>
            <p:nvPr/>
          </p:nvSpPr>
          <p:spPr bwMode="auto">
            <a:xfrm>
              <a:off x="0" y="936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8" name="Group 78"/>
          <p:cNvGrpSpPr>
            <a:grpSpLocks/>
          </p:cNvGrpSpPr>
          <p:nvPr/>
        </p:nvGrpSpPr>
        <p:grpSpPr bwMode="auto">
          <a:xfrm>
            <a:off x="5772150" y="651510"/>
            <a:ext cx="914400" cy="1783080"/>
            <a:chOff x="0" y="0"/>
            <a:chExt cx="640" cy="1248"/>
          </a:xfrm>
        </p:grpSpPr>
        <p:sp>
          <p:nvSpPr>
            <p:cNvPr id="81980" name="Rectangle 79"/>
            <p:cNvSpPr>
              <a:spLocks/>
            </p:cNvSpPr>
            <p:nvPr/>
          </p:nvSpPr>
          <p:spPr bwMode="auto">
            <a:xfrm>
              <a:off x="0" y="0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63500" tIns="63500" rIns="203068" bIns="63500" anchor="ctr"/>
            <a:lstStyle/>
            <a:p>
              <a:pPr algn="r"/>
              <a:r>
                <a:rPr lang="en-US" sz="2300" dirty="0"/>
                <a:t>8</a:t>
              </a:r>
            </a:p>
          </p:txBody>
        </p:sp>
        <p:sp>
          <p:nvSpPr>
            <p:cNvPr id="81981" name="Rectangle 80"/>
            <p:cNvSpPr>
              <a:spLocks/>
            </p:cNvSpPr>
            <p:nvPr/>
          </p:nvSpPr>
          <p:spPr bwMode="auto">
            <a:xfrm>
              <a:off x="0" y="312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63500" tIns="63500" rIns="203068" bIns="63500" anchor="ctr"/>
            <a:lstStyle/>
            <a:p>
              <a:pPr algn="r"/>
              <a:r>
                <a:rPr lang="en-US" sz="2300" dirty="0"/>
                <a:t>10</a:t>
              </a:r>
            </a:p>
          </p:txBody>
        </p:sp>
        <p:sp>
          <p:nvSpPr>
            <p:cNvPr id="81982" name="Rectangle 81"/>
            <p:cNvSpPr>
              <a:spLocks/>
            </p:cNvSpPr>
            <p:nvPr/>
          </p:nvSpPr>
          <p:spPr bwMode="auto">
            <a:xfrm>
              <a:off x="0" y="624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63500" tIns="63500" rIns="203068" bIns="63500" anchor="ctr"/>
            <a:lstStyle/>
            <a:p>
              <a:pPr algn="r"/>
              <a:r>
                <a:rPr lang="en-US" sz="2300" dirty="0"/>
                <a:t>16</a:t>
              </a:r>
            </a:p>
          </p:txBody>
        </p:sp>
        <p:sp>
          <p:nvSpPr>
            <p:cNvPr id="81983" name="Rectangle 82"/>
            <p:cNvSpPr>
              <a:spLocks/>
            </p:cNvSpPr>
            <p:nvPr/>
          </p:nvSpPr>
          <p:spPr bwMode="auto">
            <a:xfrm>
              <a:off x="0" y="936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9" name="Group 83"/>
          <p:cNvGrpSpPr>
            <a:grpSpLocks/>
          </p:cNvGrpSpPr>
          <p:nvPr/>
        </p:nvGrpSpPr>
        <p:grpSpPr bwMode="auto">
          <a:xfrm>
            <a:off x="7600950" y="651510"/>
            <a:ext cx="914400" cy="1783080"/>
            <a:chOff x="0" y="0"/>
            <a:chExt cx="640" cy="1248"/>
          </a:xfrm>
        </p:grpSpPr>
        <p:sp>
          <p:nvSpPr>
            <p:cNvPr id="81976" name="Rectangle 84"/>
            <p:cNvSpPr>
              <a:spLocks/>
            </p:cNvSpPr>
            <p:nvPr/>
          </p:nvSpPr>
          <p:spPr bwMode="auto">
            <a:xfrm>
              <a:off x="0" y="0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1977" name="Rectangle 85"/>
            <p:cNvSpPr>
              <a:spLocks/>
            </p:cNvSpPr>
            <p:nvPr/>
          </p:nvSpPr>
          <p:spPr bwMode="auto">
            <a:xfrm>
              <a:off x="0" y="312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1978" name="Rectangle 86"/>
            <p:cNvSpPr>
              <a:spLocks/>
            </p:cNvSpPr>
            <p:nvPr/>
          </p:nvSpPr>
          <p:spPr bwMode="auto">
            <a:xfrm>
              <a:off x="0" y="624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63500" tIns="63500" rIns="203068" bIns="63500" anchor="ctr"/>
            <a:lstStyle/>
            <a:p>
              <a:pPr algn="r"/>
              <a:r>
                <a:rPr lang="en-US" sz="2300" dirty="0"/>
                <a:t>8</a:t>
              </a:r>
            </a:p>
          </p:txBody>
        </p:sp>
        <p:sp>
          <p:nvSpPr>
            <p:cNvPr id="81979" name="Rectangle 87"/>
            <p:cNvSpPr>
              <a:spLocks/>
            </p:cNvSpPr>
            <p:nvPr/>
          </p:nvSpPr>
          <p:spPr bwMode="auto">
            <a:xfrm>
              <a:off x="0" y="936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81975" name="Rectangle 88"/>
          <p:cNvSpPr>
            <a:spLocks/>
          </p:cNvSpPr>
          <p:nvPr/>
        </p:nvSpPr>
        <p:spPr bwMode="auto">
          <a:xfrm>
            <a:off x="1771650" y="3126105"/>
            <a:ext cx="491490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r"/>
            <a:r>
              <a:rPr lang="en-US" sz="2100" dirty="0"/>
              <a:t>50</a:t>
            </a:r>
          </a:p>
        </p:txBody>
      </p:sp>
    </p:spTree>
  </p:cSld>
  <p:clrMapOvr>
    <a:masterClrMapping/>
  </p:clrMapOvr>
  <p:transition spd="med">
    <p:checke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14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500"/>
                                        <p:tgtEl>
                                          <p:spTgt spid="1014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14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4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14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 nodeType="clickPar">
                      <p:stCondLst>
                        <p:cond delay="indefinite"/>
                      </p:stCondLst>
                      <p:childTnLst>
                        <p:par>
                          <p:cTn id="1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 nodeType="clickPar">
                      <p:stCondLst>
                        <p:cond delay="indefinite"/>
                      </p:stCondLst>
                      <p:childTnLst>
                        <p:par>
                          <p:cTn id="2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14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 nodeType="clickPar">
                      <p:stCondLst>
                        <p:cond delay="indefinite"/>
                      </p:stCondLst>
                      <p:childTnLst>
                        <p:par>
                          <p:cTn id="2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1014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14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30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014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3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4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014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 nodeType="clickPar">
                      <p:stCondLst>
                        <p:cond delay="indefinite"/>
                      </p:stCondLst>
                      <p:childTnLst>
                        <p:par>
                          <p:cTn id="3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42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14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45" presetID="10" presetClass="exit" presetSubtype="0" fill="hold" grpId="1" nodeType="after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6" dur="500"/>
                                        <p:tgtEl>
                                          <p:spTgt spid="1014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14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 nodeType="afterGroup">
                            <p:stCondLst>
                              <p:cond delay="3500"/>
                            </p:stCondLst>
                            <p:childTnLst>
                              <p:par>
                                <p:cTn id="49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4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014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 nodeType="afterGroup">
                            <p:stCondLst>
                              <p:cond delay="4500"/>
                            </p:stCondLst>
                            <p:childTnLst>
                              <p:par>
                                <p:cTn id="5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4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014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 nodeType="afterGroup">
                            <p:stCondLst>
                              <p:cond delay="5000"/>
                            </p:stCondLst>
                            <p:childTnLst>
                              <p:par>
                                <p:cTn id="57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 nodeType="afterGroup">
                            <p:stCondLst>
                              <p:cond delay="5500"/>
                            </p:stCondLst>
                            <p:childTnLst>
                              <p:par>
                                <p:cTn id="6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14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 nodeType="afterGroup">
                            <p:stCondLst>
                              <p:cond delay="6000"/>
                            </p:stCondLst>
                            <p:childTnLst>
                              <p:par>
                                <p:cTn id="63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4" dur="500"/>
                                        <p:tgtEl>
                                          <p:spTgt spid="1014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14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 nodeType="afterGroup">
                            <p:stCondLst>
                              <p:cond delay="6500"/>
                            </p:stCondLst>
                            <p:childTnLst>
                              <p:par>
                                <p:cTn id="67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4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1014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 nodeType="afterGroup">
                            <p:stCondLst>
                              <p:cond delay="7500"/>
                            </p:stCondLst>
                            <p:childTnLst>
                              <p:par>
                                <p:cTn id="7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4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1014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 nodeType="afterGroup">
                            <p:stCondLst>
                              <p:cond delay="8000"/>
                            </p:stCondLst>
                            <p:childTnLst>
                              <p:par>
                                <p:cTn id="7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 nodeType="afterGroup">
                            <p:stCondLst>
                              <p:cond delay="8500"/>
                            </p:stCondLst>
                            <p:childTnLst>
                              <p:par>
                                <p:cTn id="7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14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 nodeType="afterGroup">
                            <p:stCondLst>
                              <p:cond delay="9000"/>
                            </p:stCondLst>
                            <p:childTnLst>
                              <p:par>
                                <p:cTn id="81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2" dur="500"/>
                                        <p:tgtEl>
                                          <p:spTgt spid="1014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14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 nodeType="afterGroup">
                            <p:stCondLst>
                              <p:cond delay="9500"/>
                            </p:stCondLst>
                            <p:childTnLst>
                              <p:par>
                                <p:cTn id="85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4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1014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 nodeType="afterGroup">
                            <p:stCondLst>
                              <p:cond delay="10500"/>
                            </p:stCondLst>
                            <p:childTnLst>
                              <p:par>
                                <p:cTn id="8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4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1014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1410" grpId="0" animBg="1"/>
      <p:bldP spid="101411" grpId="0" animBg="1"/>
      <p:bldP spid="101412" grpId="0" animBg="1"/>
      <p:bldP spid="101412" grpId="1" animBg="1"/>
      <p:bldP spid="101413" grpId="0" animBg="1"/>
      <p:bldP spid="101413" grpId="1" animBg="1"/>
      <p:bldP spid="101414" grpId="0" animBg="1"/>
      <p:bldP spid="101414" grpId="1" animBg="1"/>
      <p:bldP spid="101415" grpId="0" animBg="1"/>
      <p:bldP spid="101415" grpId="1" animBg="1"/>
      <p:bldP spid="101416" grpId="0" animBg="1"/>
      <p:bldP spid="101416" grpId="1" animBg="1"/>
      <p:bldP spid="101417" grpId="0" animBg="1"/>
      <p:bldP spid="101418" grpId="0" animBg="1"/>
      <p:bldP spid="101419" grpId="0" animBg="1"/>
      <p:bldP spid="101420" grpId="0" animBg="1"/>
      <p:bldP spid="101421" grpId="0" animBg="1"/>
      <p:bldP spid="101422" grpId="0" animBg="1"/>
      <p:bldP spid="101423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9144000" cy="1001713"/>
          </a:xfrm>
        </p:spPr>
        <p:txBody>
          <a:bodyPr>
            <a:normAutofit/>
          </a:bodyPr>
          <a:lstStyle/>
          <a:p>
            <a:pPr algn="l"/>
            <a:r>
              <a:rPr lang="en-US" sz="3200" dirty="0"/>
              <a:t>	Scrum board</a:t>
            </a:r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187569" y="2162630"/>
            <a:ext cx="8956431" cy="14515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174172" y="6052457"/>
            <a:ext cx="894303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1004835" y="1451429"/>
            <a:ext cx="13398" cy="4615536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 flipH="1">
            <a:off x="2056563" y="1393372"/>
            <a:ext cx="6699" cy="4666337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3443235" y="1422400"/>
            <a:ext cx="20096" cy="460828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5113493" y="1393371"/>
            <a:ext cx="40194" cy="4673594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5972069" y="1821537"/>
            <a:ext cx="13398" cy="4252686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7649027" y="1821537"/>
            <a:ext cx="13398" cy="4252686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4281713" y="1792508"/>
            <a:ext cx="13398" cy="4252686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6803849" y="1422400"/>
            <a:ext cx="26796" cy="465908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8480809" y="1378857"/>
            <a:ext cx="0" cy="465908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 flipV="1">
            <a:off x="475624" y="1763491"/>
            <a:ext cx="8413820" cy="14515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 flipV="1">
            <a:off x="502419" y="1357099"/>
            <a:ext cx="8413820" cy="14515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1157055" y="1509487"/>
            <a:ext cx="756937" cy="523220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Sprint</a:t>
            </a:r>
          </a:p>
          <a:p>
            <a:pPr algn="ctr"/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backlog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113908" y="1516747"/>
            <a:ext cx="794892" cy="523220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Product</a:t>
            </a:r>
          </a:p>
          <a:p>
            <a:pPr algn="ctr"/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backlog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2425006" y="1524001"/>
            <a:ext cx="656488" cy="523220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en-US" sz="1400" b="1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Task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3878670" y="1415147"/>
            <a:ext cx="1207727" cy="307777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Development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5774454" y="1407890"/>
            <a:ext cx="740144" cy="307777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Review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7040551" y="1429659"/>
            <a:ext cx="1321196" cy="261610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100" b="1" dirty="0">
                <a:solidFill>
                  <a:schemeClr val="tx2">
                    <a:lumMod val="50000"/>
                  </a:schemeClr>
                </a:solidFill>
              </a:rPr>
              <a:t>Exploratory Testing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8527705" y="1582057"/>
            <a:ext cx="589500" cy="307777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UAT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3670998" y="1843314"/>
            <a:ext cx="4841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WIP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4468167" y="1821543"/>
            <a:ext cx="57419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Done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5405982" y="1836061"/>
            <a:ext cx="4841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WIP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6203151" y="1814288"/>
            <a:ext cx="57419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Done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7040482" y="1836061"/>
            <a:ext cx="4841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WIP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7837650" y="1814288"/>
            <a:ext cx="57419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Done</a:t>
            </a:r>
          </a:p>
        </p:txBody>
      </p:sp>
      <p:sp>
        <p:nvSpPr>
          <p:cNvPr id="53" name="Round Diagonal Corner Rectangle 52"/>
          <p:cNvSpPr/>
          <p:nvPr/>
        </p:nvSpPr>
        <p:spPr>
          <a:xfrm>
            <a:off x="3537021" y="2975444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7" name="Round Diagonal Corner Rectangle 56"/>
          <p:cNvSpPr/>
          <p:nvPr/>
        </p:nvSpPr>
        <p:spPr>
          <a:xfrm>
            <a:off x="4387777" y="2256990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8" name="Round Diagonal Corner Rectangle 57"/>
          <p:cNvSpPr/>
          <p:nvPr/>
        </p:nvSpPr>
        <p:spPr>
          <a:xfrm>
            <a:off x="180874" y="2619826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9" name="Round Diagonal Corner Rectangle 58"/>
          <p:cNvSpPr/>
          <p:nvPr/>
        </p:nvSpPr>
        <p:spPr>
          <a:xfrm>
            <a:off x="3537019" y="2278758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0" name="Round Diagonal Corner Rectangle 59"/>
          <p:cNvSpPr/>
          <p:nvPr/>
        </p:nvSpPr>
        <p:spPr>
          <a:xfrm>
            <a:off x="180874" y="2939134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1" name="Round Diagonal Corner Rectangle 60"/>
          <p:cNvSpPr/>
          <p:nvPr/>
        </p:nvSpPr>
        <p:spPr>
          <a:xfrm>
            <a:off x="200966" y="2264223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2" name="Round Diagonal Corner Rectangle 61"/>
          <p:cNvSpPr/>
          <p:nvPr/>
        </p:nvSpPr>
        <p:spPr>
          <a:xfrm>
            <a:off x="174178" y="3280216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3" name="Round Diagonal Corner Rectangle 62"/>
          <p:cNvSpPr/>
          <p:nvPr/>
        </p:nvSpPr>
        <p:spPr>
          <a:xfrm>
            <a:off x="7710437" y="2242463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4" name="Round Diagonal Corner Rectangle 63"/>
          <p:cNvSpPr/>
          <p:nvPr/>
        </p:nvSpPr>
        <p:spPr>
          <a:xfrm>
            <a:off x="194271" y="3577750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5" name="Round Diagonal Corner Rectangle 64"/>
          <p:cNvSpPr/>
          <p:nvPr/>
        </p:nvSpPr>
        <p:spPr>
          <a:xfrm>
            <a:off x="5292131" y="2235197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6" name="Round Diagonal Corner Rectangle 65"/>
          <p:cNvSpPr/>
          <p:nvPr/>
        </p:nvSpPr>
        <p:spPr>
          <a:xfrm>
            <a:off x="187575" y="3918832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7" name="Round Diagonal Corner Rectangle 66"/>
          <p:cNvSpPr/>
          <p:nvPr/>
        </p:nvSpPr>
        <p:spPr>
          <a:xfrm>
            <a:off x="6946762" y="3606792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8" name="Round Diagonal Corner Rectangle 67"/>
          <p:cNvSpPr/>
          <p:nvPr/>
        </p:nvSpPr>
        <p:spPr>
          <a:xfrm>
            <a:off x="194271" y="4230880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9" name="Round Diagonal Corner Rectangle 68"/>
          <p:cNvSpPr/>
          <p:nvPr/>
        </p:nvSpPr>
        <p:spPr>
          <a:xfrm>
            <a:off x="6966856" y="3018954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0" name="Round Diagonal Corner Rectangle 69"/>
          <p:cNvSpPr/>
          <p:nvPr/>
        </p:nvSpPr>
        <p:spPr>
          <a:xfrm>
            <a:off x="187575" y="4571962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1" name="Round Diagonal Corner Rectangle 70"/>
          <p:cNvSpPr/>
          <p:nvPr/>
        </p:nvSpPr>
        <p:spPr>
          <a:xfrm>
            <a:off x="3838473" y="2968151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2" name="Round Diagonal Corner Rectangle 71"/>
          <p:cNvSpPr/>
          <p:nvPr/>
        </p:nvSpPr>
        <p:spPr>
          <a:xfrm>
            <a:off x="1172308" y="2300530"/>
            <a:ext cx="703385" cy="457200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2">
                    <a:lumMod val="50000"/>
                  </a:schemeClr>
                </a:solidFill>
              </a:rPr>
              <a:t>Story 1</a:t>
            </a:r>
          </a:p>
        </p:txBody>
      </p:sp>
      <p:sp>
        <p:nvSpPr>
          <p:cNvPr id="73" name="Round Diagonal Corner Rectangle 72"/>
          <p:cNvSpPr/>
          <p:nvPr/>
        </p:nvSpPr>
        <p:spPr>
          <a:xfrm>
            <a:off x="2505386" y="2365846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4" name="Round Diagonal Corner Rectangle 73"/>
          <p:cNvSpPr/>
          <p:nvPr/>
        </p:nvSpPr>
        <p:spPr>
          <a:xfrm>
            <a:off x="2813543" y="2365839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5" name="Round Diagonal Corner Rectangle 74"/>
          <p:cNvSpPr/>
          <p:nvPr/>
        </p:nvSpPr>
        <p:spPr>
          <a:xfrm>
            <a:off x="2203938" y="2387613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6" name="Round Diagonal Corner Rectangle 75"/>
          <p:cNvSpPr/>
          <p:nvPr/>
        </p:nvSpPr>
        <p:spPr>
          <a:xfrm>
            <a:off x="1165612" y="2960920"/>
            <a:ext cx="703385" cy="457200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000" dirty="0">
                <a:solidFill>
                  <a:srgbClr val="998C85">
                    <a:lumMod val="50000"/>
                  </a:srgbClr>
                </a:solidFill>
              </a:rPr>
              <a:t>Story 2</a:t>
            </a:r>
          </a:p>
        </p:txBody>
      </p:sp>
      <p:sp>
        <p:nvSpPr>
          <p:cNvPr id="77" name="Round Diagonal Corner Rectangle 76"/>
          <p:cNvSpPr/>
          <p:nvPr/>
        </p:nvSpPr>
        <p:spPr>
          <a:xfrm>
            <a:off x="1192407" y="3570508"/>
            <a:ext cx="703385" cy="457200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000" dirty="0">
                <a:solidFill>
                  <a:srgbClr val="998C85">
                    <a:lumMod val="50000"/>
                  </a:srgbClr>
                </a:solidFill>
              </a:rPr>
              <a:t>Story 3</a:t>
            </a:r>
          </a:p>
        </p:txBody>
      </p:sp>
      <p:sp>
        <p:nvSpPr>
          <p:cNvPr id="78" name="Round Diagonal Corner Rectangle 77"/>
          <p:cNvSpPr/>
          <p:nvPr/>
        </p:nvSpPr>
        <p:spPr>
          <a:xfrm>
            <a:off x="2485292" y="2982694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9" name="Round Diagonal Corner Rectangle 78"/>
          <p:cNvSpPr/>
          <p:nvPr/>
        </p:nvSpPr>
        <p:spPr>
          <a:xfrm>
            <a:off x="2163752" y="3606801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0" name="Round Diagonal Corner Rectangle 79"/>
          <p:cNvSpPr/>
          <p:nvPr/>
        </p:nvSpPr>
        <p:spPr>
          <a:xfrm>
            <a:off x="2183845" y="2975433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5" name="Round Diagonal Corner Rectangle 84"/>
          <p:cNvSpPr/>
          <p:nvPr/>
        </p:nvSpPr>
        <p:spPr>
          <a:xfrm>
            <a:off x="2465202" y="3570515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6" name="Round Diagonal Corner Rectangle 85"/>
          <p:cNvSpPr/>
          <p:nvPr/>
        </p:nvSpPr>
        <p:spPr>
          <a:xfrm>
            <a:off x="2177150" y="3897086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91" name="TextBox 90"/>
          <p:cNvSpPr txBox="1"/>
          <p:nvPr/>
        </p:nvSpPr>
        <p:spPr>
          <a:xfrm rot="21112688">
            <a:off x="7188331" y="4842498"/>
            <a:ext cx="1856535" cy="1600438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400" i="1" dirty="0">
                <a:solidFill>
                  <a:schemeClr val="tx2">
                    <a:lumMod val="50000"/>
                  </a:schemeClr>
                </a:solidFill>
              </a:rPr>
              <a:t>The scrum board depiction here is just a sample; and should be customized as per project need and nature</a:t>
            </a:r>
          </a:p>
        </p:txBody>
      </p:sp>
    </p:spTree>
    <p:extLst>
      <p:ext uri="{BB962C8B-B14F-4D97-AF65-F5344CB8AC3E}">
        <p14:creationId xmlns:p14="http://schemas.microsoft.com/office/powerpoint/2010/main" val="21702817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9144000" cy="1001713"/>
          </a:xfrm>
        </p:spPr>
        <p:txBody>
          <a:bodyPr>
            <a:normAutofit/>
          </a:bodyPr>
          <a:lstStyle/>
          <a:p>
            <a:pPr algn="l"/>
            <a:r>
              <a:rPr lang="en-US" sz="3600" dirty="0"/>
              <a:t>	Fire line on scrum board</a:t>
            </a:r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187569" y="2162630"/>
            <a:ext cx="8956431" cy="14515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174172" y="6052457"/>
            <a:ext cx="894303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1004835" y="1451429"/>
            <a:ext cx="13398" cy="4615536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 flipH="1">
            <a:off x="2056563" y="1393372"/>
            <a:ext cx="6699" cy="4666337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3443235" y="1422400"/>
            <a:ext cx="20096" cy="460828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5113493" y="1393371"/>
            <a:ext cx="40194" cy="4673594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5972069" y="1821537"/>
            <a:ext cx="13398" cy="4252686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7649027" y="1821537"/>
            <a:ext cx="13398" cy="4252686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4281713" y="1792508"/>
            <a:ext cx="13398" cy="4252686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6803849" y="1422400"/>
            <a:ext cx="26796" cy="465908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8480809" y="1378857"/>
            <a:ext cx="0" cy="465908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 flipV="1">
            <a:off x="475624" y="1763491"/>
            <a:ext cx="8413820" cy="14515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V="1">
            <a:off x="1031631" y="2895584"/>
            <a:ext cx="7964994" cy="36303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 flipV="1">
            <a:off x="502419" y="1357099"/>
            <a:ext cx="8413820" cy="14515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1157055" y="1509487"/>
            <a:ext cx="756937" cy="523220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Sprint</a:t>
            </a:r>
          </a:p>
          <a:p>
            <a:pPr algn="ctr"/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backlog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113908" y="1516747"/>
            <a:ext cx="794892" cy="523220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Product</a:t>
            </a:r>
          </a:p>
          <a:p>
            <a:pPr algn="ctr"/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backlog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2425006" y="1524001"/>
            <a:ext cx="656488" cy="523220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en-US" sz="1400" b="1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Task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3878670" y="1415147"/>
            <a:ext cx="1207727" cy="307777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Development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5774454" y="1407890"/>
            <a:ext cx="740144" cy="307777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Review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7040551" y="1429659"/>
            <a:ext cx="1321196" cy="261610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100" b="1" dirty="0">
                <a:solidFill>
                  <a:schemeClr val="tx2">
                    <a:lumMod val="50000"/>
                  </a:schemeClr>
                </a:solidFill>
              </a:rPr>
              <a:t>Exploratory Testing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8527705" y="1582057"/>
            <a:ext cx="589500" cy="307777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UAT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3670998" y="1843314"/>
            <a:ext cx="4841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WIP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4468167" y="1821543"/>
            <a:ext cx="57419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Done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5405982" y="1836061"/>
            <a:ext cx="4841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WIP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6203151" y="1814288"/>
            <a:ext cx="57419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Done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7040482" y="1836061"/>
            <a:ext cx="4841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WIP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7837650" y="1814288"/>
            <a:ext cx="57419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Done</a:t>
            </a:r>
          </a:p>
        </p:txBody>
      </p:sp>
      <p:sp>
        <p:nvSpPr>
          <p:cNvPr id="53" name="Round Diagonal Corner Rectangle 52"/>
          <p:cNvSpPr/>
          <p:nvPr/>
        </p:nvSpPr>
        <p:spPr>
          <a:xfrm>
            <a:off x="3537021" y="3715657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1115617" y="2344045"/>
            <a:ext cx="8028384" cy="369332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800" b="1" dirty="0">
                <a:solidFill>
                  <a:schemeClr val="tx2">
                    <a:lumMod val="50000"/>
                  </a:schemeClr>
                </a:solidFill>
              </a:rPr>
              <a:t>FIRE  LINE</a:t>
            </a:r>
          </a:p>
        </p:txBody>
      </p:sp>
      <p:sp>
        <p:nvSpPr>
          <p:cNvPr id="57" name="Round Diagonal Corner Rectangle 56"/>
          <p:cNvSpPr/>
          <p:nvPr/>
        </p:nvSpPr>
        <p:spPr>
          <a:xfrm>
            <a:off x="4387777" y="2997203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8" name="Round Diagonal Corner Rectangle 57"/>
          <p:cNvSpPr/>
          <p:nvPr/>
        </p:nvSpPr>
        <p:spPr>
          <a:xfrm>
            <a:off x="180874" y="2619826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9" name="Round Diagonal Corner Rectangle 58"/>
          <p:cNvSpPr/>
          <p:nvPr/>
        </p:nvSpPr>
        <p:spPr>
          <a:xfrm>
            <a:off x="3537019" y="3018971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0" name="Round Diagonal Corner Rectangle 59"/>
          <p:cNvSpPr/>
          <p:nvPr/>
        </p:nvSpPr>
        <p:spPr>
          <a:xfrm>
            <a:off x="180874" y="2939134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1" name="Round Diagonal Corner Rectangle 60"/>
          <p:cNvSpPr/>
          <p:nvPr/>
        </p:nvSpPr>
        <p:spPr>
          <a:xfrm>
            <a:off x="200966" y="2264223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2" name="Round Diagonal Corner Rectangle 61"/>
          <p:cNvSpPr/>
          <p:nvPr/>
        </p:nvSpPr>
        <p:spPr>
          <a:xfrm>
            <a:off x="174178" y="3280216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3" name="Round Diagonal Corner Rectangle 62"/>
          <p:cNvSpPr/>
          <p:nvPr/>
        </p:nvSpPr>
        <p:spPr>
          <a:xfrm>
            <a:off x="7710437" y="2982676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4" name="Round Diagonal Corner Rectangle 63"/>
          <p:cNvSpPr/>
          <p:nvPr/>
        </p:nvSpPr>
        <p:spPr>
          <a:xfrm>
            <a:off x="194271" y="3577750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5" name="Round Diagonal Corner Rectangle 64"/>
          <p:cNvSpPr/>
          <p:nvPr/>
        </p:nvSpPr>
        <p:spPr>
          <a:xfrm>
            <a:off x="5292131" y="2975410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6" name="Round Diagonal Corner Rectangle 65"/>
          <p:cNvSpPr/>
          <p:nvPr/>
        </p:nvSpPr>
        <p:spPr>
          <a:xfrm>
            <a:off x="187575" y="3918832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7" name="Round Diagonal Corner Rectangle 66"/>
          <p:cNvSpPr/>
          <p:nvPr/>
        </p:nvSpPr>
        <p:spPr>
          <a:xfrm>
            <a:off x="6946762" y="4347005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8" name="Round Diagonal Corner Rectangle 67"/>
          <p:cNvSpPr/>
          <p:nvPr/>
        </p:nvSpPr>
        <p:spPr>
          <a:xfrm>
            <a:off x="194271" y="4230880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9" name="Round Diagonal Corner Rectangle 68"/>
          <p:cNvSpPr/>
          <p:nvPr/>
        </p:nvSpPr>
        <p:spPr>
          <a:xfrm>
            <a:off x="6966856" y="3759167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0" name="Round Diagonal Corner Rectangle 69"/>
          <p:cNvSpPr/>
          <p:nvPr/>
        </p:nvSpPr>
        <p:spPr>
          <a:xfrm>
            <a:off x="187575" y="4571962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1" name="Round Diagonal Corner Rectangle 70"/>
          <p:cNvSpPr/>
          <p:nvPr/>
        </p:nvSpPr>
        <p:spPr>
          <a:xfrm>
            <a:off x="3838473" y="3708364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2" name="Round Diagonal Corner Rectangle 71"/>
          <p:cNvSpPr/>
          <p:nvPr/>
        </p:nvSpPr>
        <p:spPr>
          <a:xfrm>
            <a:off x="1172308" y="3040743"/>
            <a:ext cx="703385" cy="457200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2">
                    <a:lumMod val="50000"/>
                  </a:schemeClr>
                </a:solidFill>
              </a:rPr>
              <a:t>Story 1</a:t>
            </a:r>
          </a:p>
        </p:txBody>
      </p:sp>
      <p:sp>
        <p:nvSpPr>
          <p:cNvPr id="73" name="Round Diagonal Corner Rectangle 72"/>
          <p:cNvSpPr/>
          <p:nvPr/>
        </p:nvSpPr>
        <p:spPr>
          <a:xfrm>
            <a:off x="2505386" y="3106059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4" name="Round Diagonal Corner Rectangle 73"/>
          <p:cNvSpPr/>
          <p:nvPr/>
        </p:nvSpPr>
        <p:spPr>
          <a:xfrm>
            <a:off x="2813543" y="3106052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5" name="Round Diagonal Corner Rectangle 74"/>
          <p:cNvSpPr/>
          <p:nvPr/>
        </p:nvSpPr>
        <p:spPr>
          <a:xfrm>
            <a:off x="2203938" y="3127826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6" name="Round Diagonal Corner Rectangle 75"/>
          <p:cNvSpPr/>
          <p:nvPr/>
        </p:nvSpPr>
        <p:spPr>
          <a:xfrm>
            <a:off x="1165612" y="3701133"/>
            <a:ext cx="703385" cy="457200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000" dirty="0">
                <a:solidFill>
                  <a:srgbClr val="998C85">
                    <a:lumMod val="50000"/>
                  </a:srgbClr>
                </a:solidFill>
              </a:rPr>
              <a:t>Story 2</a:t>
            </a:r>
          </a:p>
        </p:txBody>
      </p:sp>
      <p:sp>
        <p:nvSpPr>
          <p:cNvPr id="77" name="Round Diagonal Corner Rectangle 76"/>
          <p:cNvSpPr/>
          <p:nvPr/>
        </p:nvSpPr>
        <p:spPr>
          <a:xfrm>
            <a:off x="1192407" y="4310721"/>
            <a:ext cx="703385" cy="457200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000" dirty="0">
                <a:solidFill>
                  <a:srgbClr val="998C85">
                    <a:lumMod val="50000"/>
                  </a:srgbClr>
                </a:solidFill>
              </a:rPr>
              <a:t>Story 3</a:t>
            </a:r>
          </a:p>
        </p:txBody>
      </p:sp>
      <p:sp>
        <p:nvSpPr>
          <p:cNvPr id="78" name="Round Diagonal Corner Rectangle 77"/>
          <p:cNvSpPr/>
          <p:nvPr/>
        </p:nvSpPr>
        <p:spPr>
          <a:xfrm>
            <a:off x="2485292" y="3722907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9" name="Round Diagonal Corner Rectangle 78"/>
          <p:cNvSpPr/>
          <p:nvPr/>
        </p:nvSpPr>
        <p:spPr>
          <a:xfrm>
            <a:off x="2163752" y="4347014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0" name="Round Diagonal Corner Rectangle 79"/>
          <p:cNvSpPr/>
          <p:nvPr/>
        </p:nvSpPr>
        <p:spPr>
          <a:xfrm>
            <a:off x="2183845" y="3715646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3" name="Round Diagonal Corner Rectangle 82"/>
          <p:cNvSpPr/>
          <p:nvPr/>
        </p:nvSpPr>
        <p:spPr>
          <a:xfrm>
            <a:off x="3583916" y="2402109"/>
            <a:ext cx="214365" cy="217714"/>
          </a:xfrm>
          <a:prstGeom prst="round2Diag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4" name="Round Diagonal Corner Rectangle 83"/>
          <p:cNvSpPr/>
          <p:nvPr/>
        </p:nvSpPr>
        <p:spPr>
          <a:xfrm>
            <a:off x="2257534" y="2402109"/>
            <a:ext cx="214365" cy="217714"/>
          </a:xfrm>
          <a:prstGeom prst="round2Diag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5" name="Round Diagonal Corner Rectangle 84"/>
          <p:cNvSpPr/>
          <p:nvPr/>
        </p:nvSpPr>
        <p:spPr>
          <a:xfrm>
            <a:off x="2465202" y="4310728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6" name="Round Diagonal Corner Rectangle 85"/>
          <p:cNvSpPr/>
          <p:nvPr/>
        </p:nvSpPr>
        <p:spPr>
          <a:xfrm>
            <a:off x="2177150" y="4637299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7" name="TextBox 86"/>
          <p:cNvSpPr txBox="1"/>
          <p:nvPr/>
        </p:nvSpPr>
        <p:spPr>
          <a:xfrm rot="19869480">
            <a:off x="4863402" y="4455887"/>
            <a:ext cx="160773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dirty="0">
                <a:solidFill>
                  <a:schemeClr val="tx2">
                    <a:lumMod val="50000"/>
                  </a:schemeClr>
                </a:solidFill>
              </a:rPr>
              <a:t>Items in Fire line can be directly added without going through product backlog or Sprint planning</a:t>
            </a:r>
          </a:p>
        </p:txBody>
      </p:sp>
      <p:cxnSp>
        <p:nvCxnSpPr>
          <p:cNvPr id="89" name="Curved Connector 88"/>
          <p:cNvCxnSpPr/>
          <p:nvPr/>
        </p:nvCxnSpPr>
        <p:spPr>
          <a:xfrm rot="16200000" flipV="1">
            <a:off x="4245430" y="3114432"/>
            <a:ext cx="1785257" cy="897652"/>
          </a:xfrm>
          <a:prstGeom prst="curvedConnector3">
            <a:avLst>
              <a:gd name="adj1" fmla="val 50000"/>
            </a:avLst>
          </a:prstGeom>
          <a:ln>
            <a:solidFill>
              <a:schemeClr val="tx2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TextBox 90"/>
          <p:cNvSpPr txBox="1"/>
          <p:nvPr/>
        </p:nvSpPr>
        <p:spPr>
          <a:xfrm rot="21112688">
            <a:off x="7201278" y="4788824"/>
            <a:ext cx="1820737" cy="1384995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400" i="1" dirty="0">
                <a:solidFill>
                  <a:schemeClr val="tx2">
                    <a:lumMod val="50000"/>
                  </a:schemeClr>
                </a:solidFill>
              </a:rPr>
              <a:t>The scrum board depiction here is just a sample; and should be customized as per project need and nature</a:t>
            </a:r>
          </a:p>
        </p:txBody>
      </p:sp>
      <p:sp>
        <p:nvSpPr>
          <p:cNvPr id="81" name="Round Diagonal Corner Rectangle 80"/>
          <p:cNvSpPr/>
          <p:nvPr/>
        </p:nvSpPr>
        <p:spPr>
          <a:xfrm>
            <a:off x="1233596" y="2419198"/>
            <a:ext cx="679648" cy="217714"/>
          </a:xfrm>
          <a:prstGeom prst="round2Diag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02817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9144000" cy="1001713"/>
          </a:xfrm>
        </p:spPr>
        <p:txBody>
          <a:bodyPr>
            <a:normAutofit/>
          </a:bodyPr>
          <a:lstStyle/>
          <a:p>
            <a:pPr algn="l"/>
            <a:r>
              <a:rPr lang="en-US" sz="3600" dirty="0"/>
              <a:t>	Kanban</a:t>
            </a:r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187569" y="2634331"/>
            <a:ext cx="8956431" cy="14515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174172" y="6052457"/>
            <a:ext cx="894303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1004835" y="1451429"/>
            <a:ext cx="13398" cy="4615536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 flipH="1">
            <a:off x="2056563" y="1393372"/>
            <a:ext cx="6699" cy="4666337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3443235" y="1422400"/>
            <a:ext cx="20096" cy="460828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5113493" y="1393371"/>
            <a:ext cx="40194" cy="4673594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5972069" y="1821537"/>
            <a:ext cx="13398" cy="4252686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7649027" y="1821537"/>
            <a:ext cx="13398" cy="4252686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4281713" y="1792508"/>
            <a:ext cx="13398" cy="4252686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6803849" y="1422400"/>
            <a:ext cx="26796" cy="465908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8480809" y="1378857"/>
            <a:ext cx="0" cy="465908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 flipV="1">
            <a:off x="475624" y="2235192"/>
            <a:ext cx="8413820" cy="14515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1222778" y="1981188"/>
            <a:ext cx="682222" cy="523220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endParaRPr lang="en-US" sz="1400" b="1" dirty="0">
              <a:solidFill>
                <a:schemeClr val="tx2">
                  <a:lumMod val="50000"/>
                </a:schemeClr>
              </a:solidFill>
            </a:endParaRPr>
          </a:p>
          <a:p>
            <a:pPr algn="ctr"/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TODO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113908" y="1988448"/>
            <a:ext cx="794892" cy="523220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Product</a:t>
            </a:r>
          </a:p>
          <a:p>
            <a:pPr algn="ctr"/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backlog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2425006" y="1995702"/>
            <a:ext cx="656488" cy="523220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en-US" sz="1400" b="1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Task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3878670" y="1886848"/>
            <a:ext cx="1207727" cy="307777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Development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5774454" y="1879591"/>
            <a:ext cx="740144" cy="307777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Review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7040551" y="1901360"/>
            <a:ext cx="1321196" cy="261610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100" b="1" dirty="0">
                <a:solidFill>
                  <a:schemeClr val="tx2">
                    <a:lumMod val="50000"/>
                  </a:schemeClr>
                </a:solidFill>
              </a:rPr>
              <a:t>Exploratory Testing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8527705" y="2053758"/>
            <a:ext cx="589500" cy="307777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UAT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3670998" y="2315015"/>
            <a:ext cx="53412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rgbClr val="0070C0"/>
                </a:solidFill>
              </a:rPr>
              <a:t>WIP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4468167" y="2293244"/>
            <a:ext cx="63831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rgbClr val="0070C0"/>
                </a:solidFill>
              </a:rPr>
              <a:t>Done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5405982" y="2307762"/>
            <a:ext cx="53412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rgbClr val="0070C0"/>
                </a:solidFill>
              </a:rPr>
              <a:t>WIP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6203151" y="2285989"/>
            <a:ext cx="63831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rgbClr val="0070C0"/>
                </a:solidFill>
              </a:rPr>
              <a:t>Done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7040482" y="2307762"/>
            <a:ext cx="53412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rgbClr val="0070C0"/>
                </a:solidFill>
              </a:rPr>
              <a:t>WIP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7837650" y="2285989"/>
            <a:ext cx="63831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rgbClr val="0070C0"/>
                </a:solidFill>
              </a:rPr>
              <a:t>Done</a:t>
            </a:r>
          </a:p>
        </p:txBody>
      </p:sp>
      <p:sp>
        <p:nvSpPr>
          <p:cNvPr id="53" name="Round Diagonal Corner Rectangle 52"/>
          <p:cNvSpPr/>
          <p:nvPr/>
        </p:nvSpPr>
        <p:spPr>
          <a:xfrm>
            <a:off x="3595635" y="3635847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7" name="Round Diagonal Corner Rectangle 56"/>
          <p:cNvSpPr/>
          <p:nvPr/>
        </p:nvSpPr>
        <p:spPr>
          <a:xfrm>
            <a:off x="4387777" y="2917393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8" name="Round Diagonal Corner Rectangle 57"/>
          <p:cNvSpPr/>
          <p:nvPr/>
        </p:nvSpPr>
        <p:spPr>
          <a:xfrm>
            <a:off x="180874" y="3091527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9" name="Round Diagonal Corner Rectangle 58"/>
          <p:cNvSpPr/>
          <p:nvPr/>
        </p:nvSpPr>
        <p:spPr>
          <a:xfrm>
            <a:off x="3537019" y="2939161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0" name="Round Diagonal Corner Rectangle 59"/>
          <p:cNvSpPr/>
          <p:nvPr/>
        </p:nvSpPr>
        <p:spPr>
          <a:xfrm>
            <a:off x="180874" y="3410835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1" name="Round Diagonal Corner Rectangle 60"/>
          <p:cNvSpPr/>
          <p:nvPr/>
        </p:nvSpPr>
        <p:spPr>
          <a:xfrm>
            <a:off x="200966" y="2735924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2" name="Round Diagonal Corner Rectangle 61"/>
          <p:cNvSpPr/>
          <p:nvPr/>
        </p:nvSpPr>
        <p:spPr>
          <a:xfrm>
            <a:off x="174178" y="3751917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3" name="Round Diagonal Corner Rectangle 62"/>
          <p:cNvSpPr/>
          <p:nvPr/>
        </p:nvSpPr>
        <p:spPr>
          <a:xfrm>
            <a:off x="7710437" y="2902866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4" name="Round Diagonal Corner Rectangle 63"/>
          <p:cNvSpPr/>
          <p:nvPr/>
        </p:nvSpPr>
        <p:spPr>
          <a:xfrm>
            <a:off x="194271" y="4049451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5" name="Round Diagonal Corner Rectangle 64"/>
          <p:cNvSpPr/>
          <p:nvPr/>
        </p:nvSpPr>
        <p:spPr>
          <a:xfrm>
            <a:off x="5292131" y="2895600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6" name="Round Diagonal Corner Rectangle 65"/>
          <p:cNvSpPr/>
          <p:nvPr/>
        </p:nvSpPr>
        <p:spPr>
          <a:xfrm>
            <a:off x="187575" y="4390533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7" name="Round Diagonal Corner Rectangle 66"/>
          <p:cNvSpPr/>
          <p:nvPr/>
        </p:nvSpPr>
        <p:spPr>
          <a:xfrm>
            <a:off x="6946762" y="3962400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8" name="Round Diagonal Corner Rectangle 67"/>
          <p:cNvSpPr/>
          <p:nvPr/>
        </p:nvSpPr>
        <p:spPr>
          <a:xfrm>
            <a:off x="194271" y="4702581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9" name="Round Diagonal Corner Rectangle 68"/>
          <p:cNvSpPr/>
          <p:nvPr/>
        </p:nvSpPr>
        <p:spPr>
          <a:xfrm>
            <a:off x="6934200" y="3505200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0" name="Round Diagonal Corner Rectangle 69"/>
          <p:cNvSpPr/>
          <p:nvPr/>
        </p:nvSpPr>
        <p:spPr>
          <a:xfrm>
            <a:off x="187575" y="5043663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1" name="Round Diagonal Corner Rectangle 70"/>
          <p:cNvSpPr/>
          <p:nvPr/>
        </p:nvSpPr>
        <p:spPr>
          <a:xfrm>
            <a:off x="3900435" y="2982686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2" name="Round Diagonal Corner Rectangle 71"/>
          <p:cNvSpPr/>
          <p:nvPr/>
        </p:nvSpPr>
        <p:spPr>
          <a:xfrm>
            <a:off x="1172308" y="2960933"/>
            <a:ext cx="703385" cy="457200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2">
                    <a:lumMod val="50000"/>
                  </a:schemeClr>
                </a:solidFill>
              </a:rPr>
              <a:t>Story 1</a:t>
            </a:r>
          </a:p>
        </p:txBody>
      </p:sp>
      <p:sp>
        <p:nvSpPr>
          <p:cNvPr id="73" name="Round Diagonal Corner Rectangle 72"/>
          <p:cNvSpPr/>
          <p:nvPr/>
        </p:nvSpPr>
        <p:spPr>
          <a:xfrm>
            <a:off x="2505386" y="3026249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4" name="Round Diagonal Corner Rectangle 73"/>
          <p:cNvSpPr/>
          <p:nvPr/>
        </p:nvSpPr>
        <p:spPr>
          <a:xfrm>
            <a:off x="2813543" y="3026242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5" name="Round Diagonal Corner Rectangle 74"/>
          <p:cNvSpPr/>
          <p:nvPr/>
        </p:nvSpPr>
        <p:spPr>
          <a:xfrm>
            <a:off x="2203938" y="3048016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6" name="Round Diagonal Corner Rectangle 75"/>
          <p:cNvSpPr/>
          <p:nvPr/>
        </p:nvSpPr>
        <p:spPr>
          <a:xfrm>
            <a:off x="1165612" y="3621323"/>
            <a:ext cx="703385" cy="457200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000" dirty="0">
                <a:solidFill>
                  <a:srgbClr val="998C85">
                    <a:lumMod val="50000"/>
                  </a:srgbClr>
                </a:solidFill>
              </a:rPr>
              <a:t>Story 2</a:t>
            </a:r>
          </a:p>
        </p:txBody>
      </p:sp>
      <p:sp>
        <p:nvSpPr>
          <p:cNvPr id="77" name="Round Diagonal Corner Rectangle 76"/>
          <p:cNvSpPr/>
          <p:nvPr/>
        </p:nvSpPr>
        <p:spPr>
          <a:xfrm>
            <a:off x="1143000" y="4267200"/>
            <a:ext cx="703385" cy="457200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000" dirty="0">
                <a:solidFill>
                  <a:srgbClr val="998C85">
                    <a:lumMod val="50000"/>
                  </a:srgbClr>
                </a:solidFill>
              </a:rPr>
              <a:t>Story 3</a:t>
            </a:r>
          </a:p>
        </p:txBody>
      </p:sp>
      <p:sp>
        <p:nvSpPr>
          <p:cNvPr id="78" name="Round Diagonal Corner Rectangle 77"/>
          <p:cNvSpPr/>
          <p:nvPr/>
        </p:nvSpPr>
        <p:spPr>
          <a:xfrm>
            <a:off x="2485292" y="3643097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9" name="Round Diagonal Corner Rectangle 78"/>
          <p:cNvSpPr/>
          <p:nvPr/>
        </p:nvSpPr>
        <p:spPr>
          <a:xfrm>
            <a:off x="2163752" y="4267204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0" name="Round Diagonal Corner Rectangle 79"/>
          <p:cNvSpPr/>
          <p:nvPr/>
        </p:nvSpPr>
        <p:spPr>
          <a:xfrm>
            <a:off x="2183845" y="3635836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5" name="Round Diagonal Corner Rectangle 84"/>
          <p:cNvSpPr/>
          <p:nvPr/>
        </p:nvSpPr>
        <p:spPr>
          <a:xfrm>
            <a:off x="2465202" y="4278086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6" name="Round Diagonal Corner Rectangle 85"/>
          <p:cNvSpPr/>
          <p:nvPr/>
        </p:nvSpPr>
        <p:spPr>
          <a:xfrm>
            <a:off x="2177150" y="4557489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7" name="TextBox 86"/>
          <p:cNvSpPr txBox="1"/>
          <p:nvPr/>
        </p:nvSpPr>
        <p:spPr>
          <a:xfrm rot="19869480">
            <a:off x="4863402" y="3904376"/>
            <a:ext cx="160773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dirty="0">
                <a:solidFill>
                  <a:schemeClr val="tx2">
                    <a:lumMod val="50000"/>
                  </a:schemeClr>
                </a:solidFill>
              </a:rPr>
              <a:t>Items in Fire line can be directly added without going through product backlog or Sprint planning</a:t>
            </a:r>
          </a:p>
        </p:txBody>
      </p:sp>
      <p:cxnSp>
        <p:nvCxnSpPr>
          <p:cNvPr id="89" name="Curved Connector 88"/>
          <p:cNvCxnSpPr/>
          <p:nvPr/>
        </p:nvCxnSpPr>
        <p:spPr>
          <a:xfrm rot="16200000" flipV="1">
            <a:off x="4245430" y="3586133"/>
            <a:ext cx="1785257" cy="897652"/>
          </a:xfrm>
          <a:prstGeom prst="curvedConnector3">
            <a:avLst>
              <a:gd name="adj1" fmla="val 50000"/>
            </a:avLst>
          </a:prstGeom>
          <a:ln>
            <a:solidFill>
              <a:schemeClr val="tx2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TextBox 90"/>
          <p:cNvSpPr txBox="1"/>
          <p:nvPr/>
        </p:nvSpPr>
        <p:spPr>
          <a:xfrm rot="21112688">
            <a:off x="7221523" y="4787387"/>
            <a:ext cx="1817344" cy="1623802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400" i="1" dirty="0">
                <a:solidFill>
                  <a:schemeClr val="tx2">
                    <a:lumMod val="50000"/>
                  </a:schemeClr>
                </a:solidFill>
              </a:rPr>
              <a:t>The kanban board depiction here is just a sample; and should be customized as per project need and nature</a:t>
            </a:r>
          </a:p>
        </p:txBody>
      </p:sp>
      <p:cxnSp>
        <p:nvCxnSpPr>
          <p:cNvPr id="82" name="Straight Connector 81"/>
          <p:cNvCxnSpPr/>
          <p:nvPr/>
        </p:nvCxnSpPr>
        <p:spPr>
          <a:xfrm>
            <a:off x="200967" y="1371600"/>
            <a:ext cx="894303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/>
          <p:cNvCxnSpPr/>
          <p:nvPr/>
        </p:nvCxnSpPr>
        <p:spPr>
          <a:xfrm>
            <a:off x="228600" y="1828800"/>
            <a:ext cx="894303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TextBox 89"/>
          <p:cNvSpPr txBox="1"/>
          <p:nvPr/>
        </p:nvSpPr>
        <p:spPr>
          <a:xfrm>
            <a:off x="3733800" y="1371600"/>
            <a:ext cx="36740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rgbClr val="0070C0"/>
                </a:solidFill>
              </a:rPr>
              <a:t>5</a:t>
            </a:r>
          </a:p>
        </p:txBody>
      </p:sp>
      <p:sp>
        <p:nvSpPr>
          <p:cNvPr id="92" name="Round Diagonal Corner Rectangle 91"/>
          <p:cNvSpPr/>
          <p:nvPr/>
        </p:nvSpPr>
        <p:spPr>
          <a:xfrm>
            <a:off x="3595635" y="4383318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93" name="Round Diagonal Corner Rectangle 92"/>
          <p:cNvSpPr/>
          <p:nvPr/>
        </p:nvSpPr>
        <p:spPr>
          <a:xfrm>
            <a:off x="3900435" y="3668486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5260914" y="1371600"/>
            <a:ext cx="36740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rgbClr val="0070C0"/>
                </a:solidFill>
              </a:rPr>
              <a:t>3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7086600" y="1371600"/>
            <a:ext cx="36740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rgbClr val="0070C0"/>
                </a:solidFill>
              </a:rPr>
              <a:t>3</a:t>
            </a:r>
          </a:p>
        </p:txBody>
      </p:sp>
      <p:sp>
        <p:nvSpPr>
          <p:cNvPr id="98" name="Round Diagonal Corner Rectangle 97"/>
          <p:cNvSpPr/>
          <p:nvPr/>
        </p:nvSpPr>
        <p:spPr>
          <a:xfrm>
            <a:off x="5653035" y="2895600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99" name="Round Diagonal Corner Rectangle 98"/>
          <p:cNvSpPr/>
          <p:nvPr/>
        </p:nvSpPr>
        <p:spPr>
          <a:xfrm>
            <a:off x="5653035" y="3505200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00" name="Round Diagonal Corner Rectangle 99"/>
          <p:cNvSpPr/>
          <p:nvPr/>
        </p:nvSpPr>
        <p:spPr>
          <a:xfrm>
            <a:off x="6110235" y="2895600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01" name="Round Diagonal Corner Rectangle 100"/>
          <p:cNvSpPr/>
          <p:nvPr/>
        </p:nvSpPr>
        <p:spPr>
          <a:xfrm>
            <a:off x="6110235" y="3505200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02" name="Round Diagonal Corner Rectangle 101"/>
          <p:cNvSpPr/>
          <p:nvPr/>
        </p:nvSpPr>
        <p:spPr>
          <a:xfrm>
            <a:off x="6491235" y="2895600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03" name="Round Diagonal Corner Rectangle 102"/>
          <p:cNvSpPr/>
          <p:nvPr/>
        </p:nvSpPr>
        <p:spPr>
          <a:xfrm>
            <a:off x="6934200" y="2971800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0281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200" b="1" dirty="0"/>
              <a:t>What is Scrum?</a:t>
            </a:r>
          </a:p>
        </p:txBody>
      </p:sp>
      <p:sp>
        <p:nvSpPr>
          <p:cNvPr id="7" name="Shape 157"/>
          <p:cNvSpPr txBox="1"/>
          <p:nvPr/>
        </p:nvSpPr>
        <p:spPr>
          <a:xfrm>
            <a:off x="534769" y="1065121"/>
            <a:ext cx="7451772" cy="491882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 algn="l">
              <a:lnSpc>
                <a:spcPct val="100000"/>
              </a:lnSpc>
              <a:spcBef>
                <a:spcPct val="20000"/>
              </a:spcBef>
            </a:pPr>
            <a:endParaRPr lang="en-GB" altLang="en-US" sz="2400" kern="0" dirty="0">
              <a:solidFill>
                <a:srgbClr val="000000"/>
              </a:solidFill>
              <a:latin typeface="Tahoma"/>
            </a:endParaRPr>
          </a:p>
          <a:p>
            <a:pPr marL="625475" lvl="1" indent="-279400" algn="l">
              <a:lnSpc>
                <a:spcPct val="100000"/>
              </a:lnSpc>
              <a:spcBef>
                <a:spcPct val="20000"/>
              </a:spcBef>
              <a:buFontTx/>
              <a:buChar char="–"/>
            </a:pPr>
            <a:endParaRPr lang="en-GB" altLang="en-US" sz="2200" kern="0" dirty="0">
              <a:solidFill>
                <a:srgbClr val="000000"/>
              </a:solidFill>
              <a:latin typeface="Tahoma"/>
            </a:endParaRPr>
          </a:p>
          <a:p>
            <a:pPr marL="625475" lvl="1" indent="-279400" algn="l">
              <a:lnSpc>
                <a:spcPct val="100000"/>
              </a:lnSpc>
              <a:spcBef>
                <a:spcPct val="20000"/>
              </a:spcBef>
              <a:buFontTx/>
              <a:buChar char="–"/>
            </a:pPr>
            <a:r>
              <a:rPr lang="en-GB" altLang="en-US" sz="2200" kern="0" dirty="0">
                <a:solidFill>
                  <a:srgbClr val="000000"/>
                </a:solidFill>
                <a:latin typeface="Tahoma"/>
              </a:rPr>
              <a:t>Is an agile, </a:t>
            </a:r>
            <a:r>
              <a:rPr kumimoji="0" lang="en-GB" altLang="en-US" sz="2200" b="0" i="0" u="none" strike="noStrike" kern="0" cap="none" spc="0" normalizeH="0" baseline="0" noProof="0" dirty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latin typeface="Tahoma"/>
              </a:rPr>
              <a:t>lightweight</a:t>
            </a:r>
            <a:r>
              <a:rPr lang="en-GB" altLang="en-US" sz="2200" kern="0" dirty="0">
                <a:solidFill>
                  <a:srgbClr val="000000"/>
                </a:solidFill>
                <a:latin typeface="Tahoma"/>
              </a:rPr>
              <a:t> process</a:t>
            </a:r>
          </a:p>
          <a:p>
            <a:pPr marL="625475" lvl="1" indent="-279400" algn="l">
              <a:lnSpc>
                <a:spcPct val="100000"/>
              </a:lnSpc>
              <a:spcBef>
                <a:spcPct val="20000"/>
              </a:spcBef>
              <a:buFontTx/>
              <a:buChar char="–"/>
            </a:pPr>
            <a:r>
              <a:rPr lang="en-GB" altLang="en-US" sz="2200" kern="0" dirty="0">
                <a:solidFill>
                  <a:srgbClr val="000000"/>
                </a:solidFill>
                <a:latin typeface="Tahoma"/>
              </a:rPr>
              <a:t>Can </a:t>
            </a:r>
            <a:r>
              <a:rPr kumimoji="0" lang="en-GB" altLang="en-US" sz="2200" b="0" i="0" u="none" strike="noStrike" kern="0" cap="none" spc="0" normalizeH="0" baseline="0" noProof="0" dirty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latin typeface="Tahoma"/>
              </a:rPr>
              <a:t>manage</a:t>
            </a:r>
            <a:r>
              <a:rPr lang="en-GB" altLang="en-US" sz="2200" kern="0" dirty="0">
                <a:solidFill>
                  <a:srgbClr val="000000"/>
                </a:solidFill>
                <a:latin typeface="Tahoma"/>
              </a:rPr>
              <a:t> and </a:t>
            </a:r>
            <a:r>
              <a:rPr kumimoji="0" lang="en-GB" altLang="en-US" sz="2200" b="0" i="0" u="none" strike="noStrike" kern="0" cap="none" spc="0" normalizeH="0" baseline="0" noProof="0" dirty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latin typeface="Tahoma"/>
              </a:rPr>
              <a:t>control</a:t>
            </a:r>
            <a:r>
              <a:rPr lang="en-GB" altLang="en-US" sz="2200" kern="0" dirty="0">
                <a:solidFill>
                  <a:srgbClr val="000000"/>
                </a:solidFill>
                <a:latin typeface="Tahoma"/>
              </a:rPr>
              <a:t> software and product development</a:t>
            </a:r>
          </a:p>
          <a:p>
            <a:pPr marL="625475" lvl="1" indent="-279400" algn="l">
              <a:lnSpc>
                <a:spcPct val="100000"/>
              </a:lnSpc>
              <a:spcBef>
                <a:spcPct val="20000"/>
              </a:spcBef>
              <a:buFontTx/>
              <a:buChar char="–"/>
            </a:pPr>
            <a:r>
              <a:rPr lang="en-GB" altLang="en-US" sz="2200" kern="0" dirty="0">
                <a:solidFill>
                  <a:srgbClr val="000000"/>
                </a:solidFill>
                <a:latin typeface="Tahoma"/>
              </a:rPr>
              <a:t>Uses iterative, incremental practices</a:t>
            </a:r>
          </a:p>
          <a:p>
            <a:pPr marL="625475" lvl="1" indent="-279400" algn="l">
              <a:lnSpc>
                <a:spcPct val="100000"/>
              </a:lnSpc>
              <a:spcBef>
                <a:spcPct val="20000"/>
              </a:spcBef>
              <a:buFontTx/>
              <a:buChar char="–"/>
            </a:pPr>
            <a:r>
              <a:rPr lang="en-GB" altLang="en-US" sz="2200" kern="0" dirty="0">
                <a:solidFill>
                  <a:srgbClr val="000000"/>
                </a:solidFill>
                <a:latin typeface="Tahoma"/>
              </a:rPr>
              <a:t>Has a </a:t>
            </a:r>
            <a:r>
              <a:rPr kumimoji="0" lang="en-GB" altLang="en-US" sz="2200" b="0" i="0" u="none" strike="noStrike" kern="0" cap="none" spc="0" normalizeH="0" baseline="0" noProof="0" dirty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latin typeface="Tahoma"/>
              </a:rPr>
              <a:t>simple</a:t>
            </a:r>
            <a:r>
              <a:rPr lang="en-GB" altLang="en-US" sz="2200" kern="0" dirty="0">
                <a:solidFill>
                  <a:srgbClr val="000000"/>
                </a:solidFill>
                <a:latin typeface="Tahoma"/>
              </a:rPr>
              <a:t> implementation</a:t>
            </a:r>
          </a:p>
          <a:p>
            <a:pPr marL="625475" lvl="1" indent="-279400" algn="l">
              <a:lnSpc>
                <a:spcPct val="100000"/>
              </a:lnSpc>
              <a:spcBef>
                <a:spcPct val="20000"/>
              </a:spcBef>
              <a:buFontTx/>
              <a:buChar char="–"/>
            </a:pPr>
            <a:r>
              <a:rPr lang="en-GB" altLang="en-US" sz="2200" kern="0" dirty="0">
                <a:solidFill>
                  <a:srgbClr val="000000"/>
                </a:solidFill>
                <a:latin typeface="Tahoma"/>
              </a:rPr>
              <a:t>Increases productivity</a:t>
            </a:r>
          </a:p>
          <a:p>
            <a:pPr marL="625475" lvl="1" indent="-279400" algn="l">
              <a:lnSpc>
                <a:spcPct val="100000"/>
              </a:lnSpc>
              <a:spcBef>
                <a:spcPct val="20000"/>
              </a:spcBef>
              <a:buFontTx/>
              <a:buChar char="–"/>
            </a:pPr>
            <a:r>
              <a:rPr lang="en-GB" altLang="en-US" sz="2200" kern="0" dirty="0">
                <a:solidFill>
                  <a:srgbClr val="000000"/>
                </a:solidFill>
                <a:latin typeface="Tahoma"/>
              </a:rPr>
              <a:t>Reduces </a:t>
            </a:r>
            <a:r>
              <a:rPr kumimoji="0" lang="en-GB" altLang="en-US" sz="2200" b="0" i="0" u="none" strike="noStrike" kern="0" cap="none" spc="0" normalizeH="0" baseline="0" noProof="0" dirty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latin typeface="Tahoma"/>
              </a:rPr>
              <a:t>time to benefits</a:t>
            </a:r>
          </a:p>
          <a:p>
            <a:pPr marL="625475" lvl="1" indent="-279400" algn="l">
              <a:lnSpc>
                <a:spcPct val="100000"/>
              </a:lnSpc>
              <a:spcBef>
                <a:spcPct val="20000"/>
              </a:spcBef>
              <a:buFontTx/>
              <a:buChar char="–"/>
            </a:pPr>
            <a:r>
              <a:rPr lang="en-GB" altLang="en-US" sz="2200" kern="0" dirty="0">
                <a:solidFill>
                  <a:srgbClr val="000000"/>
                </a:solidFill>
                <a:latin typeface="Tahoma"/>
              </a:rPr>
              <a:t>Embraces </a:t>
            </a:r>
            <a:r>
              <a:rPr kumimoji="0" lang="en-GB" altLang="en-US" sz="2200" b="0" i="0" u="none" strike="noStrike" kern="0" cap="none" spc="0" normalizeH="0" baseline="0" noProof="0" dirty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latin typeface="Tahoma"/>
              </a:rPr>
              <a:t>adaptive</a:t>
            </a:r>
            <a:r>
              <a:rPr lang="en-GB" altLang="en-US" sz="2200" kern="0" dirty="0">
                <a:solidFill>
                  <a:srgbClr val="000000"/>
                </a:solidFill>
                <a:latin typeface="Tahoma"/>
              </a:rPr>
              <a:t>, empirical systems development</a:t>
            </a:r>
          </a:p>
          <a:p>
            <a:pPr marL="625475" lvl="1" indent="-279400" algn="l">
              <a:lnSpc>
                <a:spcPct val="100000"/>
              </a:lnSpc>
              <a:spcBef>
                <a:spcPct val="20000"/>
              </a:spcBef>
              <a:buFontTx/>
              <a:buChar char="–"/>
            </a:pPr>
            <a:r>
              <a:rPr lang="en-GB" altLang="en-US" sz="2200" kern="0" dirty="0">
                <a:solidFill>
                  <a:srgbClr val="000000"/>
                </a:solidFill>
                <a:latin typeface="Tahoma"/>
              </a:rPr>
              <a:t>Is not restricted to software development projects</a:t>
            </a:r>
          </a:p>
          <a:p>
            <a:pPr marL="625475" lvl="1" indent="-279400" algn="l">
              <a:lnSpc>
                <a:spcPct val="100000"/>
              </a:lnSpc>
              <a:spcBef>
                <a:spcPct val="20000"/>
              </a:spcBef>
              <a:buFontTx/>
              <a:buChar char="–"/>
            </a:pPr>
            <a:r>
              <a:rPr lang="en-GB" altLang="en-US" sz="2200" kern="0" dirty="0">
                <a:solidFill>
                  <a:srgbClr val="000000"/>
                </a:solidFill>
                <a:latin typeface="Tahoma"/>
              </a:rPr>
              <a:t>Embraces the </a:t>
            </a:r>
            <a:r>
              <a:rPr kumimoji="0" lang="en-GB" altLang="en-US" sz="2200" b="0" i="0" u="none" strike="noStrike" kern="0" cap="none" spc="0" normalizeH="0" baseline="0" noProof="0" dirty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latin typeface="Tahoma"/>
              </a:rPr>
              <a:t>opposite of the waterfall</a:t>
            </a:r>
            <a:r>
              <a:rPr lang="en-GB" altLang="en-US" sz="2200" kern="0" dirty="0">
                <a:solidFill>
                  <a:srgbClr val="000000"/>
                </a:solidFill>
                <a:latin typeface="Tahoma"/>
              </a:rPr>
              <a:t> approach…</a:t>
            </a:r>
          </a:p>
          <a:p>
            <a:pPr marL="625475" lvl="1" indent="-279400" algn="l">
              <a:lnSpc>
                <a:spcPct val="100000"/>
              </a:lnSpc>
              <a:spcBef>
                <a:spcPct val="20000"/>
              </a:spcBef>
              <a:buFontTx/>
              <a:buChar char="–"/>
            </a:pPr>
            <a:r>
              <a:rPr lang="en-GB" altLang="en-US" sz="2200" kern="0" dirty="0">
                <a:solidFill>
                  <a:srgbClr val="000000"/>
                </a:solidFill>
                <a:latin typeface="Tahoma"/>
              </a:rPr>
              <a:t>Originate by Jeff Sutherland and Ken </a:t>
            </a:r>
            <a:r>
              <a:rPr lang="en-GB" altLang="en-US" sz="2200" kern="0" dirty="0" err="1">
                <a:solidFill>
                  <a:srgbClr val="000000"/>
                </a:solidFill>
                <a:latin typeface="Tahoma"/>
              </a:rPr>
              <a:t>Schwaber</a:t>
            </a:r>
            <a:r>
              <a:rPr lang="en-GB" altLang="en-US" sz="2200" kern="0" dirty="0">
                <a:solidFill>
                  <a:srgbClr val="000000"/>
                </a:solidFill>
                <a:latin typeface="Tahoma"/>
              </a:rPr>
              <a:t> in 1993</a:t>
            </a:r>
          </a:p>
          <a:p>
            <a:pPr marL="346075" lvl="1" algn="l">
              <a:lnSpc>
                <a:spcPct val="100000"/>
              </a:lnSpc>
              <a:spcBef>
                <a:spcPct val="20000"/>
              </a:spcBef>
            </a:pPr>
            <a:endParaRPr lang="en-GB" altLang="en-US" sz="2200" kern="0" dirty="0">
              <a:solidFill>
                <a:srgbClr val="000000"/>
              </a:solidFill>
              <a:latin typeface="Tahoma"/>
            </a:endParaRPr>
          </a:p>
        </p:txBody>
      </p:sp>
      <p:pic>
        <p:nvPicPr>
          <p:cNvPr id="8" name="Shape 159"/>
          <p:cNvPicPr preferRelativeResize="0"/>
          <p:nvPr/>
        </p:nvPicPr>
        <p:blipFill>
          <a:blip r:embed="rId4" cstate="print">
            <a:alphaModFix/>
          </a:blip>
          <a:stretch>
            <a:fillRect/>
          </a:stretch>
        </p:blipFill>
        <p:spPr>
          <a:xfrm>
            <a:off x="4903672" y="1738106"/>
            <a:ext cx="4558931" cy="3022156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Text Box 4"/>
          <p:cNvSpPr txBox="1">
            <a:spLocks noChangeArrowheads="1"/>
          </p:cNvSpPr>
          <p:nvPr/>
        </p:nvSpPr>
        <p:spPr bwMode="auto">
          <a:xfrm>
            <a:off x="2169165" y="895658"/>
            <a:ext cx="4593919" cy="519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  <a:lvl2pPr marL="457200" algn="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914400" algn="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371600" algn="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1828800" algn="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pPr algn="ctr" eaLnBrk="0" hangingPunct="0">
              <a:spcBef>
                <a:spcPct val="50000"/>
              </a:spcBef>
            </a:pPr>
            <a:r>
              <a:rPr lang="en-GB" altLang="en-US" sz="2800" b="1" u="sng" dirty="0">
                <a:solidFill>
                  <a:schemeClr val="accent2"/>
                </a:solidFill>
              </a:rPr>
              <a:t>It’s about common sens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8088453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676400" y="431800"/>
            <a:ext cx="5791200" cy="599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11113"/>
            <a:ext cx="9144000" cy="1001713"/>
          </a:xfrm>
        </p:spPr>
        <p:txBody>
          <a:bodyPr>
            <a:normAutofit/>
          </a:bodyPr>
          <a:lstStyle/>
          <a:p>
            <a:pPr algn="l"/>
            <a:r>
              <a:rPr lang="en-US" sz="3600" dirty="0">
                <a:solidFill>
                  <a:schemeClr val="tx2">
                    <a:lumMod val="50000"/>
                  </a:schemeClr>
                </a:solidFill>
              </a:rPr>
              <a:t>	</a:t>
            </a:r>
            <a:r>
              <a:rPr lang="en-US" sz="3600" dirty="0">
                <a:solidFill>
                  <a:schemeClr val="accent1"/>
                </a:solidFill>
              </a:rPr>
              <a:t>Myths or Facts</a:t>
            </a:r>
          </a:p>
        </p:txBody>
      </p:sp>
      <p:sp>
        <p:nvSpPr>
          <p:cNvPr id="10" name="TextBox 9"/>
          <p:cNvSpPr txBox="1"/>
          <p:nvPr/>
        </p:nvSpPr>
        <p:spPr>
          <a:xfrm rot="1958097">
            <a:off x="544691" y="1367232"/>
            <a:ext cx="21820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Agile is undisciplined</a:t>
            </a:r>
          </a:p>
        </p:txBody>
      </p:sp>
      <p:sp>
        <p:nvSpPr>
          <p:cNvPr id="11" name="TextBox 10"/>
          <p:cNvSpPr txBox="1"/>
          <p:nvPr/>
        </p:nvSpPr>
        <p:spPr>
          <a:xfrm rot="20734335">
            <a:off x="3521886" y="1490534"/>
            <a:ext cx="164814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Agile is anti </a:t>
            </a:r>
          </a:p>
          <a:p>
            <a:pPr algn="ctr"/>
            <a:r>
              <a:rPr lang="en-US" b="1" dirty="0">
                <a:solidFill>
                  <a:schemeClr val="tx2"/>
                </a:solidFill>
              </a:rPr>
              <a:t>documentation</a:t>
            </a:r>
          </a:p>
        </p:txBody>
      </p:sp>
      <p:sp>
        <p:nvSpPr>
          <p:cNvPr id="12" name="TextBox 11"/>
          <p:cNvSpPr txBox="1"/>
          <p:nvPr/>
        </p:nvSpPr>
        <p:spPr>
          <a:xfrm rot="956586">
            <a:off x="5996781" y="1905000"/>
            <a:ext cx="282461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Road map and release plan </a:t>
            </a:r>
          </a:p>
          <a:p>
            <a:pPr algn="ctr"/>
            <a:r>
              <a:rPr lang="en-US" b="1" dirty="0">
                <a:solidFill>
                  <a:schemeClr val="tx2"/>
                </a:solidFill>
              </a:rPr>
              <a:t>is essential in Agile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824598" y="3284832"/>
            <a:ext cx="173874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Agile works well</a:t>
            </a:r>
          </a:p>
          <a:p>
            <a:pPr algn="ctr"/>
            <a:r>
              <a:rPr lang="en-US" b="1" dirty="0">
                <a:solidFill>
                  <a:schemeClr val="tx2"/>
                </a:solidFill>
              </a:rPr>
              <a:t> for big projects</a:t>
            </a:r>
          </a:p>
        </p:txBody>
      </p:sp>
      <p:sp>
        <p:nvSpPr>
          <p:cNvPr id="15" name="TextBox 14"/>
          <p:cNvSpPr txBox="1"/>
          <p:nvPr/>
        </p:nvSpPr>
        <p:spPr>
          <a:xfrm rot="20247305">
            <a:off x="533400" y="3276600"/>
            <a:ext cx="1981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Agile means</a:t>
            </a:r>
          </a:p>
          <a:p>
            <a:pPr algn="ctr"/>
            <a:r>
              <a:rPr lang="en-US" b="1" dirty="0">
                <a:solidFill>
                  <a:schemeClr val="tx2"/>
                </a:solidFill>
              </a:rPr>
              <a:t> small water falls</a:t>
            </a:r>
          </a:p>
        </p:txBody>
      </p:sp>
      <p:sp>
        <p:nvSpPr>
          <p:cNvPr id="16" name="TextBox 15"/>
          <p:cNvSpPr txBox="1"/>
          <p:nvPr/>
        </p:nvSpPr>
        <p:spPr>
          <a:xfrm rot="20319648">
            <a:off x="6693164" y="4714402"/>
            <a:ext cx="157043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Agile required</a:t>
            </a:r>
          </a:p>
          <a:p>
            <a:pPr algn="ctr"/>
            <a:r>
              <a:rPr lang="en-US" b="1" dirty="0">
                <a:solidFill>
                  <a:schemeClr val="tx2"/>
                </a:solidFill>
              </a:rPr>
              <a:t> lots of rework</a:t>
            </a:r>
          </a:p>
        </p:txBody>
      </p:sp>
      <p:sp>
        <p:nvSpPr>
          <p:cNvPr id="17" name="TextBox 16"/>
          <p:cNvSpPr txBox="1"/>
          <p:nvPr/>
        </p:nvSpPr>
        <p:spPr>
          <a:xfrm rot="20302097">
            <a:off x="648641" y="5747909"/>
            <a:ext cx="19546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Agile doesn’t scale</a:t>
            </a:r>
          </a:p>
        </p:txBody>
      </p:sp>
      <p:sp>
        <p:nvSpPr>
          <p:cNvPr id="18" name="TextBox 17"/>
          <p:cNvSpPr txBox="1"/>
          <p:nvPr/>
        </p:nvSpPr>
        <p:spPr>
          <a:xfrm rot="409628">
            <a:off x="4453267" y="5335142"/>
            <a:ext cx="13397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Agile is anti </a:t>
            </a:r>
          </a:p>
          <a:p>
            <a:pPr algn="ctr"/>
            <a:r>
              <a:rPr lang="en-US" b="1" dirty="0">
                <a:solidFill>
                  <a:schemeClr val="tx2"/>
                </a:solidFill>
              </a:rPr>
              <a:t>architecture</a:t>
            </a:r>
          </a:p>
        </p:txBody>
      </p:sp>
      <p:pic>
        <p:nvPicPr>
          <p:cNvPr id="2050" name="Picture 2" descr="D:\Users\vivsinha\Desktop\images 1\MythvsFact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90800" y="2346158"/>
            <a:ext cx="3962400" cy="291966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8349896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9144000" cy="1001713"/>
          </a:xfrm>
        </p:spPr>
        <p:txBody>
          <a:bodyPr>
            <a:normAutofit/>
          </a:bodyPr>
          <a:lstStyle/>
          <a:p>
            <a:pPr algn="l"/>
            <a:r>
              <a:rPr lang="en-US" sz="3200" dirty="0"/>
              <a:t>	Success </a:t>
            </a:r>
            <a:r>
              <a:rPr lang="en-US" sz="3200" dirty="0" err="1"/>
              <a:t>Selfie</a:t>
            </a:r>
            <a:r>
              <a:rPr lang="en-US" sz="3200" dirty="0"/>
              <a:t>!</a:t>
            </a:r>
          </a:p>
        </p:txBody>
      </p:sp>
      <p:sp>
        <p:nvSpPr>
          <p:cNvPr id="82" name="Content Placeholder 2"/>
          <p:cNvSpPr txBox="1">
            <a:spLocks/>
          </p:cNvSpPr>
          <p:nvPr/>
        </p:nvSpPr>
        <p:spPr>
          <a:xfrm>
            <a:off x="0" y="1484785"/>
            <a:ext cx="9144000" cy="4611217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oing agile is all about building a great development culture in your organization. 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ffective cross-functionalism 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lf organizing team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on’t be critical-path developers, cross-train each other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ross-pollinate though effective code review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ultivate full-stack developer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02817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78" descr="blue arrow"/>
          <p:cNvPicPr>
            <a:picLocks noChangeAspect="1" noChangeArrowheads="1"/>
          </p:cNvPicPr>
          <p:nvPr/>
        </p:nvPicPr>
        <p:blipFill>
          <a:blip r:embed="rId3" cstate="print">
            <a:lum bright="18000"/>
          </a:blip>
          <a:srcRect/>
          <a:stretch>
            <a:fillRect/>
          </a:stretch>
        </p:blipFill>
        <p:spPr bwMode="auto">
          <a:xfrm rot="5603805">
            <a:off x="3827475" y="2792889"/>
            <a:ext cx="1057246" cy="3702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4" name="AutoShape 91"/>
          <p:cNvSpPr>
            <a:spLocks noChangeArrowheads="1"/>
          </p:cNvSpPr>
          <p:nvPr/>
        </p:nvSpPr>
        <p:spPr bwMode="auto">
          <a:xfrm>
            <a:off x="1187625" y="1752053"/>
            <a:ext cx="6811963" cy="4413251"/>
          </a:xfrm>
          <a:prstGeom prst="curvedLeftArrow">
            <a:avLst>
              <a:gd name="adj1" fmla="val 12903"/>
              <a:gd name="adj2" fmla="val 32903"/>
              <a:gd name="adj3" fmla="val 30413"/>
            </a:avLst>
          </a:prstGeom>
          <a:solidFill>
            <a:schemeClr val="tx2">
              <a:alpha val="43137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sz="1600">
              <a:solidFill>
                <a:srgbClr val="000000"/>
              </a:solidFill>
              <a:ea typeface="+mn-ea"/>
            </a:endParaRPr>
          </a:p>
        </p:txBody>
      </p:sp>
      <p:pic>
        <p:nvPicPr>
          <p:cNvPr id="5" name="Picture 4" descr="Red User sm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964854" y="1669521"/>
            <a:ext cx="374091" cy="4905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5" descr="Yellow User sm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704934" y="1776638"/>
            <a:ext cx="374091" cy="4905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6" descr="Green User sm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010238" y="1885108"/>
            <a:ext cx="354621" cy="4649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 Box 44"/>
          <p:cNvSpPr txBox="1">
            <a:spLocks noChangeArrowheads="1"/>
          </p:cNvSpPr>
          <p:nvPr/>
        </p:nvSpPr>
        <p:spPr bwMode="auto">
          <a:xfrm>
            <a:off x="428729" y="1110793"/>
            <a:ext cx="1674726" cy="6001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200" b="1" dirty="0">
                <a:solidFill>
                  <a:srgbClr val="40444B"/>
                </a:solidFill>
                <a:latin typeface="+mn-lt"/>
                <a:ea typeface="+mn-ea"/>
              </a:rPr>
              <a:t>User Stories</a:t>
            </a:r>
          </a:p>
          <a:p>
            <a:pPr algn="ctr">
              <a:defRPr/>
            </a:pPr>
            <a:r>
              <a:rPr lang="en-US" sz="1000" b="1" dirty="0">
                <a:solidFill>
                  <a:srgbClr val="40444B"/>
                </a:solidFill>
                <a:latin typeface="+mn-lt"/>
              </a:rPr>
              <a:t>Must have </a:t>
            </a:r>
          </a:p>
          <a:p>
            <a:pPr algn="ctr">
              <a:defRPr/>
            </a:pPr>
            <a:r>
              <a:rPr lang="en-US" sz="1000" b="1" dirty="0">
                <a:solidFill>
                  <a:srgbClr val="40444B"/>
                </a:solidFill>
                <a:latin typeface="+mn-lt"/>
              </a:rPr>
              <a:t>Acceptance Criteria </a:t>
            </a:r>
            <a:endParaRPr lang="en-US" sz="1000" b="1" dirty="0">
              <a:solidFill>
                <a:srgbClr val="40444B"/>
              </a:solidFill>
              <a:latin typeface="+mn-lt"/>
              <a:ea typeface="+mn-ea"/>
            </a:endParaRPr>
          </a:p>
        </p:txBody>
      </p:sp>
      <p:grpSp>
        <p:nvGrpSpPr>
          <p:cNvPr id="2" name="Group 92"/>
          <p:cNvGrpSpPr>
            <a:grpSpLocks/>
          </p:cNvGrpSpPr>
          <p:nvPr/>
        </p:nvGrpSpPr>
        <p:grpSpPr bwMode="auto">
          <a:xfrm>
            <a:off x="658066" y="3100470"/>
            <a:ext cx="883076" cy="920342"/>
            <a:chOff x="253" y="1842"/>
            <a:chExt cx="635" cy="681"/>
          </a:xfrm>
        </p:grpSpPr>
        <p:pic>
          <p:nvPicPr>
            <p:cNvPr id="10" name="Picture 86" descr="XP icon generic internet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253" y="1842"/>
              <a:ext cx="450" cy="4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3" name="Group 81"/>
            <p:cNvGrpSpPr>
              <a:grpSpLocks/>
            </p:cNvGrpSpPr>
            <p:nvPr/>
          </p:nvGrpSpPr>
          <p:grpSpPr bwMode="auto">
            <a:xfrm>
              <a:off x="342" y="1978"/>
              <a:ext cx="546" cy="545"/>
              <a:chOff x="1506" y="3106"/>
              <a:chExt cx="609" cy="734"/>
            </a:xfrm>
          </p:grpSpPr>
          <p:pic>
            <p:nvPicPr>
              <p:cNvPr id="12" name="Picture 82" descr="buddy3"/>
              <p:cNvPicPr>
                <a:picLocks noChangeAspect="1" noChangeArrowheads="1"/>
              </p:cNvPicPr>
              <p:nvPr/>
            </p:nvPicPr>
            <p:blipFill>
              <a:blip r:embed="rId8" cstate="print">
                <a:lum bright="6000" contrast="6000"/>
              </a:blip>
              <a:srcRect/>
              <a:stretch>
                <a:fillRect/>
              </a:stretch>
            </p:blipFill>
            <p:spPr bwMode="auto">
              <a:xfrm>
                <a:off x="1731" y="3106"/>
                <a:ext cx="384" cy="4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3" name="Picture 83" descr="buddy5"/>
              <p:cNvPicPr>
                <a:picLocks noChangeAspect="1" noChangeArrowheads="1"/>
              </p:cNvPicPr>
              <p:nvPr/>
            </p:nvPicPr>
            <p:blipFill>
              <a:blip r:embed="rId9" cstate="print">
                <a:lum bright="6000" contrast="6000"/>
              </a:blip>
              <a:srcRect/>
              <a:stretch>
                <a:fillRect/>
              </a:stretch>
            </p:blipFill>
            <p:spPr bwMode="auto">
              <a:xfrm>
                <a:off x="1506" y="3226"/>
                <a:ext cx="377" cy="4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4" name="Picture 84" descr="buddy2"/>
              <p:cNvPicPr>
                <a:picLocks noChangeAspect="1" noChangeArrowheads="1"/>
              </p:cNvPicPr>
              <p:nvPr/>
            </p:nvPicPr>
            <p:blipFill>
              <a:blip r:embed="rId10" cstate="print">
                <a:lum bright="6000" contrast="6000"/>
              </a:blip>
              <a:srcRect/>
              <a:stretch>
                <a:fillRect/>
              </a:stretch>
            </p:blipFill>
            <p:spPr bwMode="auto">
              <a:xfrm>
                <a:off x="1710" y="3346"/>
                <a:ext cx="377" cy="49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</p:grpSp>
      <p:sp>
        <p:nvSpPr>
          <p:cNvPr id="15" name="Text Box 85"/>
          <p:cNvSpPr txBox="1">
            <a:spLocks noChangeArrowheads="1"/>
          </p:cNvSpPr>
          <p:nvPr/>
        </p:nvSpPr>
        <p:spPr bwMode="auto">
          <a:xfrm>
            <a:off x="267957" y="4016099"/>
            <a:ext cx="1647929" cy="4616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200" b="1" dirty="0">
                <a:solidFill>
                  <a:srgbClr val="40444B"/>
                </a:solidFill>
                <a:latin typeface="+mn-lt"/>
              </a:rPr>
              <a:t>Client / Stakeholder, PO, Scrum master</a:t>
            </a:r>
            <a:endParaRPr lang="en-US" sz="1200" b="1" dirty="0">
              <a:solidFill>
                <a:srgbClr val="40444B"/>
              </a:solidFill>
              <a:latin typeface="+mn-lt"/>
              <a:ea typeface="+mn-ea"/>
            </a:endParaRPr>
          </a:p>
        </p:txBody>
      </p:sp>
      <p:pic>
        <p:nvPicPr>
          <p:cNvPr id="16" name="Picture 132" descr="GEL Dotted Line MS-green"/>
          <p:cNvPicPr>
            <a:picLocks noChangeAspect="1" noChangeArrowheads="1"/>
          </p:cNvPicPr>
          <p:nvPr/>
        </p:nvPicPr>
        <p:blipFill>
          <a:blip r:embed="rId11" cstate="print"/>
          <a:srcRect l="17416" t="-45959" r="15268" b="5556"/>
          <a:stretch>
            <a:fillRect/>
          </a:stretch>
        </p:blipFill>
        <p:spPr bwMode="auto">
          <a:xfrm>
            <a:off x="1540386" y="3967529"/>
            <a:ext cx="2461487" cy="1702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133" descr="GEL Dotted Line MS-blue"/>
          <p:cNvPicPr>
            <a:picLocks noChangeAspect="1" noChangeArrowheads="1"/>
          </p:cNvPicPr>
          <p:nvPr/>
        </p:nvPicPr>
        <p:blipFill>
          <a:blip r:embed="rId12" cstate="print"/>
          <a:srcRect l="34499" t="4041"/>
          <a:stretch>
            <a:fillRect/>
          </a:stretch>
        </p:blipFill>
        <p:spPr bwMode="auto">
          <a:xfrm rot="1981432">
            <a:off x="1394365" y="3260718"/>
            <a:ext cx="2517113" cy="11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Text Box 44"/>
          <p:cNvSpPr txBox="1">
            <a:spLocks noChangeArrowheads="1"/>
          </p:cNvSpPr>
          <p:nvPr/>
        </p:nvSpPr>
        <p:spPr bwMode="auto">
          <a:xfrm>
            <a:off x="2411760" y="1109671"/>
            <a:ext cx="1440160" cy="57708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050" b="1" dirty="0">
                <a:solidFill>
                  <a:srgbClr val="40444B"/>
                </a:solidFill>
                <a:latin typeface="+mn-lt"/>
                <a:ea typeface="+mn-ea"/>
              </a:rPr>
              <a:t>Development Team</a:t>
            </a:r>
          </a:p>
          <a:p>
            <a:pPr algn="ctr">
              <a:defRPr/>
            </a:pPr>
            <a:r>
              <a:rPr lang="en-US" sz="1050" b="1" dirty="0">
                <a:solidFill>
                  <a:srgbClr val="40444B"/>
                </a:solidFill>
                <a:latin typeface="+mn-lt"/>
              </a:rPr>
              <a:t>Technical discussion of Story</a:t>
            </a:r>
            <a:endParaRPr lang="en-US" sz="1050" b="1" dirty="0">
              <a:solidFill>
                <a:srgbClr val="40444B"/>
              </a:solidFill>
              <a:latin typeface="+mn-lt"/>
              <a:ea typeface="+mn-ea"/>
            </a:endParaRPr>
          </a:p>
        </p:txBody>
      </p:sp>
      <p:pic>
        <p:nvPicPr>
          <p:cNvPr id="31" name="Picture 30" descr="Green User sm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82149" y="2366626"/>
            <a:ext cx="354621" cy="4649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" name="Text Box 44"/>
          <p:cNvSpPr txBox="1">
            <a:spLocks noChangeArrowheads="1"/>
          </p:cNvSpPr>
          <p:nvPr/>
        </p:nvSpPr>
        <p:spPr bwMode="auto">
          <a:xfrm>
            <a:off x="349102" y="5590983"/>
            <a:ext cx="1198563" cy="4616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200" b="1" dirty="0">
                <a:solidFill>
                  <a:srgbClr val="40444B"/>
                </a:solidFill>
                <a:latin typeface="+mn-lt"/>
                <a:ea typeface="+mn-ea"/>
              </a:rPr>
              <a:t>Shippable</a:t>
            </a:r>
          </a:p>
          <a:p>
            <a:pPr algn="ctr">
              <a:defRPr/>
            </a:pPr>
            <a:r>
              <a:rPr lang="en-US" sz="1200" b="1" dirty="0">
                <a:solidFill>
                  <a:srgbClr val="40444B"/>
                </a:solidFill>
                <a:latin typeface="+mn-lt"/>
              </a:rPr>
              <a:t>Code</a:t>
            </a:r>
            <a:r>
              <a:rPr lang="en-US" sz="1200" b="1" dirty="0">
                <a:solidFill>
                  <a:srgbClr val="40444B"/>
                </a:solidFill>
                <a:latin typeface="+mn-lt"/>
                <a:ea typeface="+mn-ea"/>
              </a:rPr>
              <a:t> </a:t>
            </a:r>
          </a:p>
        </p:txBody>
      </p:sp>
      <p:grpSp>
        <p:nvGrpSpPr>
          <p:cNvPr id="9" name="Group 11"/>
          <p:cNvGrpSpPr>
            <a:grpSpLocks/>
          </p:cNvGrpSpPr>
          <p:nvPr/>
        </p:nvGrpSpPr>
        <p:grpSpPr bwMode="auto">
          <a:xfrm>
            <a:off x="1217656" y="1657828"/>
            <a:ext cx="440843" cy="796008"/>
            <a:chOff x="975" y="845"/>
            <a:chExt cx="414" cy="889"/>
          </a:xfrm>
        </p:grpSpPr>
        <p:pic>
          <p:nvPicPr>
            <p:cNvPr id="41" name="Picture 8" descr="Binary Code Sm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975" y="845"/>
              <a:ext cx="293" cy="6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2" name="Picture 9" descr="Binary Code Sm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1044" y="981"/>
              <a:ext cx="293" cy="6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3" name="Picture 10" descr="Binary Code Sm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1096" y="1117"/>
              <a:ext cx="293" cy="6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1" name="Group 58"/>
          <p:cNvGrpSpPr>
            <a:grpSpLocks/>
          </p:cNvGrpSpPr>
          <p:nvPr/>
        </p:nvGrpSpPr>
        <p:grpSpPr bwMode="auto">
          <a:xfrm>
            <a:off x="3526263" y="3551282"/>
            <a:ext cx="1293323" cy="906827"/>
            <a:chOff x="1111" y="2272"/>
            <a:chExt cx="930" cy="671"/>
          </a:xfrm>
        </p:grpSpPr>
        <p:pic>
          <p:nvPicPr>
            <p:cNvPr id="45" name="Picture 51" descr="orange-disc"/>
            <p:cNvPicPr>
              <a:picLocks noChangeAspect="1" noChangeArrowheads="1"/>
            </p:cNvPicPr>
            <p:nvPr/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1111" y="2272"/>
              <a:ext cx="930" cy="6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6" name="Picture 52" descr="web-page"/>
            <p:cNvPicPr>
              <a:picLocks noChangeAspect="1" noChangeArrowheads="1"/>
            </p:cNvPicPr>
            <p:nvPr/>
          </p:nvPicPr>
          <p:blipFill>
            <a:blip r:embed="rId15" cstate="print"/>
            <a:srcRect/>
            <a:stretch>
              <a:fillRect/>
            </a:stretch>
          </p:blipFill>
          <p:spPr bwMode="auto">
            <a:xfrm>
              <a:off x="1602" y="2296"/>
              <a:ext cx="325" cy="4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7" name="Picture 53" descr="economics chart financial chart"/>
            <p:cNvPicPr>
              <a:picLocks noChangeAspect="1" noChangeArrowheads="1"/>
            </p:cNvPicPr>
            <p:nvPr/>
          </p:nvPicPr>
          <p:blipFill>
            <a:blip r:embed="rId16" cstate="print"/>
            <a:srcRect/>
            <a:stretch>
              <a:fillRect/>
            </a:stretch>
          </p:blipFill>
          <p:spPr bwMode="auto">
            <a:xfrm>
              <a:off x="1285" y="2272"/>
              <a:ext cx="295" cy="2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8" name="Picture 54" descr="MSN icon mail"/>
            <p:cNvPicPr>
              <a:picLocks noChangeAspect="1" noChangeArrowheads="1"/>
            </p:cNvPicPr>
            <p:nvPr/>
          </p:nvPicPr>
          <p:blipFill>
            <a:blip r:embed="rId17" cstate="print"/>
            <a:srcRect/>
            <a:stretch>
              <a:fillRect/>
            </a:stretch>
          </p:blipFill>
          <p:spPr bwMode="auto">
            <a:xfrm>
              <a:off x="1247" y="2478"/>
              <a:ext cx="239" cy="4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9" name="Picture 56" descr="3 peice unequal Pie chart"/>
            <p:cNvPicPr>
              <a:picLocks noChangeAspect="1" noChangeArrowheads="1"/>
            </p:cNvPicPr>
            <p:nvPr/>
          </p:nvPicPr>
          <p:blipFill>
            <a:blip r:embed="rId18" cstate="print"/>
            <a:srcRect/>
            <a:stretch>
              <a:fillRect/>
            </a:stretch>
          </p:blipFill>
          <p:spPr bwMode="auto">
            <a:xfrm>
              <a:off x="1490" y="2523"/>
              <a:ext cx="347" cy="2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51" name="Picture 126" descr="blue arrow"/>
          <p:cNvPicPr>
            <a:picLocks noChangeAspect="1" noChangeArrowheads="1"/>
          </p:cNvPicPr>
          <p:nvPr/>
        </p:nvPicPr>
        <p:blipFill>
          <a:blip r:embed="rId19" cstate="print">
            <a:lum bright="18000"/>
          </a:blip>
          <a:srcRect/>
          <a:stretch>
            <a:fillRect/>
          </a:stretch>
        </p:blipFill>
        <p:spPr bwMode="auto">
          <a:xfrm rot="3550055">
            <a:off x="2603218" y="2768033"/>
            <a:ext cx="1524976" cy="4144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grpSp>
        <p:nvGrpSpPr>
          <p:cNvPr id="18" name="Group 11"/>
          <p:cNvGrpSpPr>
            <a:grpSpLocks/>
          </p:cNvGrpSpPr>
          <p:nvPr/>
        </p:nvGrpSpPr>
        <p:grpSpPr bwMode="auto">
          <a:xfrm>
            <a:off x="4139953" y="1844824"/>
            <a:ext cx="440843" cy="796008"/>
            <a:chOff x="975" y="845"/>
            <a:chExt cx="414" cy="889"/>
          </a:xfrm>
        </p:grpSpPr>
        <p:pic>
          <p:nvPicPr>
            <p:cNvPr id="53" name="Picture 8" descr="Binary Code Sm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975" y="845"/>
              <a:ext cx="293" cy="6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4" name="Picture 9" descr="Binary Code Sm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1044" y="981"/>
              <a:ext cx="293" cy="6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5" name="Picture 10" descr="Binary Code Sm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1096" y="1117"/>
              <a:ext cx="293" cy="6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20" name="Group 11"/>
          <p:cNvGrpSpPr>
            <a:grpSpLocks/>
          </p:cNvGrpSpPr>
          <p:nvPr/>
        </p:nvGrpSpPr>
        <p:grpSpPr bwMode="auto">
          <a:xfrm>
            <a:off x="5508104" y="2060848"/>
            <a:ext cx="440843" cy="796008"/>
            <a:chOff x="975" y="845"/>
            <a:chExt cx="414" cy="889"/>
          </a:xfrm>
        </p:grpSpPr>
        <p:pic>
          <p:nvPicPr>
            <p:cNvPr id="58" name="Picture 8" descr="Binary Code Sm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975" y="845"/>
              <a:ext cx="293" cy="6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9" name="Picture 9" descr="Binary Code Sm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1044" y="981"/>
              <a:ext cx="293" cy="6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0" name="Picture 10" descr="Binary Code Sm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1096" y="1117"/>
              <a:ext cx="293" cy="6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61" name="Text Box 44"/>
          <p:cNvSpPr txBox="1">
            <a:spLocks noChangeArrowheads="1"/>
          </p:cNvSpPr>
          <p:nvPr/>
        </p:nvSpPr>
        <p:spPr bwMode="auto">
          <a:xfrm>
            <a:off x="5105400" y="1548825"/>
            <a:ext cx="1741714" cy="5847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200" b="1" dirty="0">
                <a:solidFill>
                  <a:srgbClr val="40444B"/>
                </a:solidFill>
                <a:latin typeface="+mn-lt"/>
                <a:ea typeface="+mn-ea"/>
              </a:rPr>
              <a:t>BDD </a:t>
            </a:r>
          </a:p>
          <a:p>
            <a:pPr algn="ctr">
              <a:defRPr/>
            </a:pPr>
            <a:r>
              <a:rPr lang="en-US" sz="1000" b="1" dirty="0">
                <a:solidFill>
                  <a:srgbClr val="40444B"/>
                </a:solidFill>
                <a:latin typeface="+mn-lt"/>
                <a:ea typeface="+mn-ea"/>
              </a:rPr>
              <a:t>Behavior driven development</a:t>
            </a:r>
          </a:p>
        </p:txBody>
      </p:sp>
      <p:grpSp>
        <p:nvGrpSpPr>
          <p:cNvPr id="21" name="Group 11"/>
          <p:cNvGrpSpPr>
            <a:grpSpLocks/>
          </p:cNvGrpSpPr>
          <p:nvPr/>
        </p:nvGrpSpPr>
        <p:grpSpPr bwMode="auto">
          <a:xfrm>
            <a:off x="6732241" y="2488976"/>
            <a:ext cx="440843" cy="796008"/>
            <a:chOff x="975" y="845"/>
            <a:chExt cx="414" cy="889"/>
          </a:xfrm>
        </p:grpSpPr>
        <p:pic>
          <p:nvPicPr>
            <p:cNvPr id="63" name="Picture 8" descr="Binary Code Sm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975" y="845"/>
              <a:ext cx="293" cy="6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4" name="Picture 9" descr="Binary Code Sm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1044" y="981"/>
              <a:ext cx="293" cy="6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5" name="Picture 10" descr="Binary Code Sm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1096" y="1117"/>
              <a:ext cx="293" cy="6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66" name="Text Box 44"/>
          <p:cNvSpPr txBox="1">
            <a:spLocks noChangeArrowheads="1"/>
          </p:cNvSpPr>
          <p:nvPr/>
        </p:nvSpPr>
        <p:spPr bwMode="auto">
          <a:xfrm>
            <a:off x="6970039" y="2133419"/>
            <a:ext cx="1818917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200" b="1" dirty="0">
                <a:solidFill>
                  <a:srgbClr val="40444B"/>
                </a:solidFill>
                <a:latin typeface="+mn-lt"/>
              </a:rPr>
              <a:t>Code review</a:t>
            </a:r>
          </a:p>
          <a:p>
            <a:pPr algn="ctr">
              <a:defRPr/>
            </a:pPr>
            <a:r>
              <a:rPr lang="en-US" sz="1000" dirty="0">
                <a:solidFill>
                  <a:schemeClr val="tx2">
                    <a:lumMod val="50000"/>
                  </a:schemeClr>
                </a:solidFill>
              </a:rPr>
              <a:t>Agile way – ensuring all acceptance criteria are covered in TDD &amp; BDD</a:t>
            </a:r>
            <a:endParaRPr lang="en-US" sz="1000" b="1" dirty="0">
              <a:solidFill>
                <a:srgbClr val="40444B"/>
              </a:solidFill>
              <a:latin typeface="+mn-lt"/>
              <a:ea typeface="+mn-ea"/>
            </a:endParaRPr>
          </a:p>
        </p:txBody>
      </p:sp>
      <p:grpSp>
        <p:nvGrpSpPr>
          <p:cNvPr id="22" name="Group 11"/>
          <p:cNvGrpSpPr>
            <a:grpSpLocks/>
          </p:cNvGrpSpPr>
          <p:nvPr/>
        </p:nvGrpSpPr>
        <p:grpSpPr bwMode="auto">
          <a:xfrm>
            <a:off x="7668344" y="3573016"/>
            <a:ext cx="440843" cy="796008"/>
            <a:chOff x="975" y="845"/>
            <a:chExt cx="414" cy="889"/>
          </a:xfrm>
        </p:grpSpPr>
        <p:pic>
          <p:nvPicPr>
            <p:cNvPr id="68" name="Picture 8" descr="Binary Code Sm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975" y="845"/>
              <a:ext cx="293" cy="6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9" name="Picture 9" descr="Binary Code Sm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1044" y="981"/>
              <a:ext cx="293" cy="6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0" name="Picture 10" descr="Binary Code Sm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1096" y="1117"/>
              <a:ext cx="293" cy="6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71" name="Text Box 44"/>
          <p:cNvSpPr txBox="1">
            <a:spLocks noChangeArrowheads="1"/>
          </p:cNvSpPr>
          <p:nvPr/>
        </p:nvSpPr>
        <p:spPr bwMode="auto">
          <a:xfrm>
            <a:off x="7945438" y="3284984"/>
            <a:ext cx="1198563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000" b="1" dirty="0">
                <a:solidFill>
                  <a:srgbClr val="40444B"/>
                </a:solidFill>
                <a:latin typeface="+mn-lt"/>
                <a:ea typeface="+mn-ea"/>
              </a:rPr>
              <a:t>Code Merge in</a:t>
            </a:r>
          </a:p>
          <a:p>
            <a:pPr algn="ctr">
              <a:defRPr/>
            </a:pPr>
            <a:r>
              <a:rPr lang="en-US" sz="1000" b="1" dirty="0">
                <a:solidFill>
                  <a:srgbClr val="40444B"/>
                </a:solidFill>
                <a:latin typeface="+mn-lt"/>
              </a:rPr>
              <a:t>SCM</a:t>
            </a:r>
            <a:r>
              <a:rPr lang="en-US" sz="1000" b="1" dirty="0">
                <a:solidFill>
                  <a:srgbClr val="40444B"/>
                </a:solidFill>
                <a:latin typeface="+mn-lt"/>
                <a:ea typeface="+mn-ea"/>
              </a:rPr>
              <a:t>  / Repository</a:t>
            </a:r>
          </a:p>
        </p:txBody>
      </p:sp>
      <p:sp>
        <p:nvSpPr>
          <p:cNvPr id="76" name="Text Box 44"/>
          <p:cNvSpPr txBox="1">
            <a:spLocks noChangeArrowheads="1"/>
          </p:cNvSpPr>
          <p:nvPr/>
        </p:nvSpPr>
        <p:spPr bwMode="auto">
          <a:xfrm>
            <a:off x="7092280" y="4680480"/>
            <a:ext cx="1512168" cy="6463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200" b="1" dirty="0">
                <a:solidFill>
                  <a:srgbClr val="40444B"/>
                </a:solidFill>
                <a:latin typeface="+mn-lt"/>
                <a:ea typeface="+mn-ea"/>
              </a:rPr>
              <a:t>Continuous Integration (CI)</a:t>
            </a:r>
          </a:p>
          <a:p>
            <a:pPr algn="ctr">
              <a:defRPr/>
            </a:pPr>
            <a:r>
              <a:rPr lang="en-US" sz="1050" dirty="0">
                <a:solidFill>
                  <a:srgbClr val="40444B"/>
                </a:solidFill>
                <a:latin typeface="+mn-lt"/>
              </a:rPr>
              <a:t>For QA Build</a:t>
            </a:r>
            <a:endParaRPr lang="en-US" sz="1050" dirty="0">
              <a:solidFill>
                <a:srgbClr val="40444B"/>
              </a:solidFill>
              <a:latin typeface="+mn-lt"/>
              <a:ea typeface="+mn-ea"/>
            </a:endParaRPr>
          </a:p>
        </p:txBody>
      </p:sp>
      <p:sp>
        <p:nvSpPr>
          <p:cNvPr id="85" name="Text Box 44"/>
          <p:cNvSpPr txBox="1">
            <a:spLocks noChangeArrowheads="1"/>
          </p:cNvSpPr>
          <p:nvPr/>
        </p:nvSpPr>
        <p:spPr bwMode="auto">
          <a:xfrm>
            <a:off x="4819810" y="5589242"/>
            <a:ext cx="1440160" cy="4616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200" b="1" dirty="0">
                <a:solidFill>
                  <a:srgbClr val="40444B"/>
                </a:solidFill>
                <a:latin typeface="+mn-lt"/>
                <a:ea typeface="+mn-ea"/>
              </a:rPr>
              <a:t>Exploratory</a:t>
            </a:r>
          </a:p>
          <a:p>
            <a:pPr algn="ctr">
              <a:defRPr/>
            </a:pPr>
            <a:r>
              <a:rPr lang="en-US" sz="1200" b="1" dirty="0">
                <a:solidFill>
                  <a:srgbClr val="40444B"/>
                </a:solidFill>
                <a:latin typeface="+mn-lt"/>
              </a:rPr>
              <a:t>Testing</a:t>
            </a:r>
            <a:endParaRPr lang="en-US" sz="1200" b="1" dirty="0">
              <a:solidFill>
                <a:srgbClr val="40444B"/>
              </a:solidFill>
              <a:latin typeface="+mn-lt"/>
              <a:ea typeface="+mn-ea"/>
            </a:endParaRPr>
          </a:p>
        </p:txBody>
      </p:sp>
      <p:sp>
        <p:nvSpPr>
          <p:cNvPr id="50" name="Text Box 75"/>
          <p:cNvSpPr txBox="1">
            <a:spLocks noChangeArrowheads="1"/>
          </p:cNvSpPr>
          <p:nvPr/>
        </p:nvSpPr>
        <p:spPr bwMode="auto">
          <a:xfrm>
            <a:off x="3275857" y="3068962"/>
            <a:ext cx="1800200" cy="4616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nl-NL" sz="1200" b="1" dirty="0">
                <a:solidFill>
                  <a:srgbClr val="40444B"/>
                </a:solidFill>
                <a:latin typeface="+mn-lt"/>
                <a:ea typeface="+mn-ea"/>
              </a:rPr>
              <a:t>Progress &amp; feedback Reporting</a:t>
            </a:r>
          </a:p>
        </p:txBody>
      </p:sp>
      <p:pic>
        <p:nvPicPr>
          <p:cNvPr id="86" name="Picture 78" descr="blue arrow"/>
          <p:cNvPicPr>
            <a:picLocks noChangeAspect="1" noChangeArrowheads="1"/>
          </p:cNvPicPr>
          <p:nvPr/>
        </p:nvPicPr>
        <p:blipFill>
          <a:blip r:embed="rId3" cstate="print">
            <a:lum bright="18000"/>
          </a:blip>
          <a:srcRect/>
          <a:stretch>
            <a:fillRect/>
          </a:stretch>
        </p:blipFill>
        <p:spPr bwMode="auto">
          <a:xfrm rot="8314436">
            <a:off x="4542064" y="3010343"/>
            <a:ext cx="1335013" cy="3702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87" name="Picture 78" descr="blue arrow"/>
          <p:cNvPicPr>
            <a:picLocks noChangeAspect="1" noChangeArrowheads="1"/>
          </p:cNvPicPr>
          <p:nvPr/>
        </p:nvPicPr>
        <p:blipFill>
          <a:blip r:embed="rId3" cstate="print">
            <a:lum bright="18000"/>
          </a:blip>
          <a:srcRect/>
          <a:stretch>
            <a:fillRect/>
          </a:stretch>
        </p:blipFill>
        <p:spPr bwMode="auto">
          <a:xfrm rot="9626784">
            <a:off x="4698951" y="3420013"/>
            <a:ext cx="2412369" cy="3702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90" name="Picture 78" descr="blue arrow"/>
          <p:cNvPicPr>
            <a:picLocks noChangeAspect="1" noChangeArrowheads="1"/>
          </p:cNvPicPr>
          <p:nvPr/>
        </p:nvPicPr>
        <p:blipFill>
          <a:blip r:embed="rId3" cstate="print">
            <a:lum bright="18000"/>
          </a:blip>
          <a:srcRect/>
          <a:stretch>
            <a:fillRect/>
          </a:stretch>
        </p:blipFill>
        <p:spPr bwMode="auto">
          <a:xfrm rot="10800000">
            <a:off x="5602320" y="3850789"/>
            <a:ext cx="1922009" cy="3702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91" name="Picture 78" descr="blue arrow"/>
          <p:cNvPicPr>
            <a:picLocks noChangeAspect="1" noChangeArrowheads="1"/>
          </p:cNvPicPr>
          <p:nvPr/>
        </p:nvPicPr>
        <p:blipFill>
          <a:blip r:embed="rId3" cstate="print">
            <a:lum bright="18000"/>
          </a:blip>
          <a:srcRect/>
          <a:stretch>
            <a:fillRect/>
          </a:stretch>
        </p:blipFill>
        <p:spPr bwMode="auto">
          <a:xfrm rot="11494650">
            <a:off x="4731250" y="4236625"/>
            <a:ext cx="2155271" cy="3702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99" name="Picture 78" descr="blue arrow"/>
          <p:cNvPicPr>
            <a:picLocks noChangeAspect="1" noChangeArrowheads="1"/>
          </p:cNvPicPr>
          <p:nvPr/>
        </p:nvPicPr>
        <p:blipFill>
          <a:blip r:embed="rId3" cstate="print">
            <a:lum bright="18000"/>
          </a:blip>
          <a:srcRect/>
          <a:stretch>
            <a:fillRect/>
          </a:stretch>
        </p:blipFill>
        <p:spPr bwMode="auto">
          <a:xfrm rot="16574151">
            <a:off x="3664873" y="4541919"/>
            <a:ext cx="832646" cy="3702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100" name="Picture 78" descr="blue arrow"/>
          <p:cNvPicPr>
            <a:picLocks noChangeAspect="1" noChangeArrowheads="1"/>
          </p:cNvPicPr>
          <p:nvPr/>
        </p:nvPicPr>
        <p:blipFill>
          <a:blip r:embed="rId3" cstate="print">
            <a:lum bright="18000"/>
          </a:blip>
          <a:srcRect/>
          <a:stretch>
            <a:fillRect/>
          </a:stretch>
        </p:blipFill>
        <p:spPr bwMode="auto">
          <a:xfrm rot="18362049">
            <a:off x="2919897" y="4500329"/>
            <a:ext cx="1057246" cy="3702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101" name="Picture 100" descr="Build.bmp"/>
          <p:cNvPicPr>
            <a:picLocks noChangeAspect="1"/>
          </p:cNvPicPr>
          <p:nvPr/>
        </p:nvPicPr>
        <p:blipFill>
          <a:blip r:embed="rId20" cstate="print"/>
          <a:stretch>
            <a:fillRect/>
          </a:stretch>
        </p:blipFill>
        <p:spPr>
          <a:xfrm>
            <a:off x="5176523" y="4840696"/>
            <a:ext cx="901623" cy="724669"/>
          </a:xfrm>
          <a:prstGeom prst="rect">
            <a:avLst/>
          </a:prstGeom>
        </p:spPr>
      </p:pic>
      <p:pic>
        <p:nvPicPr>
          <p:cNvPr id="106" name="Picture 115" descr="Analysis"/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7236297" y="3140968"/>
            <a:ext cx="360040" cy="370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9" name="Picture 115" descr="Analysis"/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4605479" y="2420888"/>
            <a:ext cx="360040" cy="370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2" name="Picture 78" descr="blue arrow"/>
          <p:cNvPicPr>
            <a:picLocks noChangeAspect="1" noChangeArrowheads="1"/>
          </p:cNvPicPr>
          <p:nvPr/>
        </p:nvPicPr>
        <p:blipFill>
          <a:blip r:embed="rId3" cstate="print">
            <a:lum bright="18000"/>
          </a:blip>
          <a:srcRect/>
          <a:stretch>
            <a:fillRect/>
          </a:stretch>
        </p:blipFill>
        <p:spPr bwMode="auto">
          <a:xfrm rot="12443560">
            <a:off x="4287837" y="4461993"/>
            <a:ext cx="1450469" cy="3702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79" name="Picture 115" descr="Analysis"/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6867874" y="4934407"/>
            <a:ext cx="360040" cy="370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0" name="TextBox 79"/>
          <p:cNvSpPr txBox="1"/>
          <p:nvPr/>
        </p:nvSpPr>
        <p:spPr>
          <a:xfrm>
            <a:off x="6834360" y="5307297"/>
            <a:ext cx="76219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800" b="1" dirty="0">
                <a:solidFill>
                  <a:srgbClr val="40444B"/>
                </a:solidFill>
                <a:latin typeface="+mn-lt"/>
                <a:ea typeface="+mn-ea"/>
              </a:rPr>
              <a:t>Automated Build report </a:t>
            </a:r>
          </a:p>
        </p:txBody>
      </p:sp>
      <p:sp>
        <p:nvSpPr>
          <p:cNvPr id="82" name="Text Box 44"/>
          <p:cNvSpPr txBox="1">
            <a:spLocks noChangeArrowheads="1"/>
          </p:cNvSpPr>
          <p:nvPr/>
        </p:nvSpPr>
        <p:spPr bwMode="auto">
          <a:xfrm>
            <a:off x="3969142" y="1253686"/>
            <a:ext cx="1198563" cy="5847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200" b="1" dirty="0">
                <a:solidFill>
                  <a:srgbClr val="40444B"/>
                </a:solidFill>
                <a:latin typeface="+mn-lt"/>
                <a:ea typeface="+mn-ea"/>
              </a:rPr>
              <a:t>TDD</a:t>
            </a:r>
          </a:p>
          <a:p>
            <a:pPr algn="ctr">
              <a:defRPr/>
            </a:pPr>
            <a:r>
              <a:rPr lang="en-US" sz="1000" b="1" dirty="0">
                <a:solidFill>
                  <a:srgbClr val="40444B"/>
                </a:solidFill>
                <a:latin typeface="+mn-lt"/>
              </a:rPr>
              <a:t>Test Driven Development</a:t>
            </a:r>
            <a:endParaRPr lang="en-US" sz="1000" b="1" dirty="0">
              <a:solidFill>
                <a:srgbClr val="40444B"/>
              </a:solidFill>
              <a:latin typeface="+mn-lt"/>
              <a:ea typeface="+mn-ea"/>
            </a:endParaRPr>
          </a:p>
        </p:txBody>
      </p:sp>
      <p:sp>
        <p:nvSpPr>
          <p:cNvPr id="84" name="Text Box 75"/>
          <p:cNvSpPr txBox="1">
            <a:spLocks noChangeArrowheads="1"/>
          </p:cNvSpPr>
          <p:nvPr/>
        </p:nvSpPr>
        <p:spPr bwMode="auto">
          <a:xfrm>
            <a:off x="3135088" y="4251855"/>
            <a:ext cx="2411605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nl-NL" sz="1050" b="1" dirty="0">
                <a:latin typeface="+mn-lt"/>
              </a:rPr>
              <a:t>Project management Tool (JIRA)</a:t>
            </a:r>
          </a:p>
          <a:p>
            <a:pPr algn="ctr">
              <a:defRPr/>
            </a:pPr>
            <a:r>
              <a:rPr lang="nl-NL" sz="1050" b="1" dirty="0">
                <a:latin typeface="+mn-lt"/>
                <a:ea typeface="+mn-ea"/>
              </a:rPr>
              <a:t>Code quality review automation  (</a:t>
            </a:r>
            <a:r>
              <a:rPr lang="nl-NL" sz="1050" b="1" dirty="0"/>
              <a:t>Sonar  / CAST</a:t>
            </a:r>
            <a:r>
              <a:rPr lang="nl-NL" sz="1050" b="1" dirty="0">
                <a:latin typeface="+mn-lt"/>
                <a:ea typeface="+mn-ea"/>
              </a:rPr>
              <a:t>)</a:t>
            </a:r>
          </a:p>
          <a:p>
            <a:pPr algn="ctr">
              <a:defRPr/>
            </a:pPr>
            <a:r>
              <a:rPr lang="nl-NL" sz="1050" b="1" dirty="0">
                <a:latin typeface="+mn-lt"/>
              </a:rPr>
              <a:t>Burn Down, Scrum Board </a:t>
            </a:r>
            <a:endParaRPr lang="nl-NL" sz="1050" b="1" dirty="0">
              <a:latin typeface="+mn-lt"/>
              <a:ea typeface="+mn-ea"/>
            </a:endParaRPr>
          </a:p>
        </p:txBody>
      </p:sp>
      <p:sp>
        <p:nvSpPr>
          <p:cNvPr id="88" name="Text Box 44"/>
          <p:cNvSpPr txBox="1">
            <a:spLocks noChangeArrowheads="1"/>
          </p:cNvSpPr>
          <p:nvPr/>
        </p:nvSpPr>
        <p:spPr bwMode="auto">
          <a:xfrm>
            <a:off x="4337385" y="2692220"/>
            <a:ext cx="1383485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800" b="1" dirty="0">
                <a:solidFill>
                  <a:schemeClr val="tx2">
                    <a:lumMod val="50000"/>
                  </a:schemeClr>
                </a:solidFill>
              </a:rPr>
              <a:t>Unit Test </a:t>
            </a:r>
          </a:p>
          <a:p>
            <a:pPr algn="ctr">
              <a:defRPr/>
            </a:pPr>
            <a:r>
              <a:rPr lang="en-US" sz="800" b="1" dirty="0">
                <a:solidFill>
                  <a:schemeClr val="tx2">
                    <a:lumMod val="50000"/>
                  </a:schemeClr>
                </a:solidFill>
              </a:rPr>
              <a:t>Coverage &gt; 70 %</a:t>
            </a:r>
            <a:endParaRPr lang="en-US" sz="800" b="1" dirty="0">
              <a:solidFill>
                <a:srgbClr val="40444B"/>
              </a:solidFill>
              <a:latin typeface="+mn-lt"/>
              <a:ea typeface="+mn-ea"/>
            </a:endParaRPr>
          </a:p>
        </p:txBody>
      </p:sp>
      <p:grpSp>
        <p:nvGrpSpPr>
          <p:cNvPr id="23" name="Group 12"/>
          <p:cNvGrpSpPr>
            <a:grpSpLocks noChangeAspect="1"/>
          </p:cNvGrpSpPr>
          <p:nvPr/>
        </p:nvGrpSpPr>
        <p:grpSpPr bwMode="auto">
          <a:xfrm>
            <a:off x="6900659" y="4206011"/>
            <a:ext cx="551826" cy="597811"/>
            <a:chOff x="2841" y="1629"/>
            <a:chExt cx="558" cy="558"/>
          </a:xfrm>
        </p:grpSpPr>
        <p:sp>
          <p:nvSpPr>
            <p:cNvPr id="93" name="AutoShape 11"/>
            <p:cNvSpPr>
              <a:spLocks noChangeAspect="1" noChangeArrowheads="1" noTextEdit="1"/>
            </p:cNvSpPr>
            <p:nvPr/>
          </p:nvSpPr>
          <p:spPr bwMode="auto">
            <a:xfrm>
              <a:off x="2841" y="1629"/>
              <a:ext cx="558" cy="5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94" name="Freeform 13"/>
            <p:cNvSpPr>
              <a:spLocks/>
            </p:cNvSpPr>
            <p:nvPr/>
          </p:nvSpPr>
          <p:spPr bwMode="auto">
            <a:xfrm>
              <a:off x="2838" y="1626"/>
              <a:ext cx="558" cy="558"/>
            </a:xfrm>
            <a:custGeom>
              <a:avLst/>
              <a:gdLst/>
              <a:ahLst/>
              <a:cxnLst>
                <a:cxn ang="0">
                  <a:pos x="336" y="686"/>
                </a:cxn>
                <a:cxn ang="0">
                  <a:pos x="192" y="635"/>
                </a:cxn>
                <a:cxn ang="0">
                  <a:pos x="38" y="589"/>
                </a:cxn>
                <a:cxn ang="0">
                  <a:pos x="137" y="409"/>
                </a:cxn>
                <a:cxn ang="0">
                  <a:pos x="49" y="219"/>
                </a:cxn>
                <a:cxn ang="0">
                  <a:pos x="180" y="79"/>
                </a:cxn>
                <a:cxn ang="0">
                  <a:pos x="355" y="151"/>
                </a:cxn>
                <a:cxn ang="0">
                  <a:pos x="527" y="10"/>
                </a:cxn>
                <a:cxn ang="0">
                  <a:pos x="674" y="147"/>
                </a:cxn>
                <a:cxn ang="0">
                  <a:pos x="659" y="311"/>
                </a:cxn>
                <a:cxn ang="0">
                  <a:pos x="826" y="472"/>
                </a:cxn>
                <a:cxn ang="0">
                  <a:pos x="718" y="635"/>
                </a:cxn>
                <a:cxn ang="0">
                  <a:pos x="560" y="681"/>
                </a:cxn>
                <a:cxn ang="0">
                  <a:pos x="634" y="830"/>
                </a:cxn>
                <a:cxn ang="0">
                  <a:pos x="475" y="996"/>
                </a:cxn>
                <a:cxn ang="0">
                  <a:pos x="569" y="1153"/>
                </a:cxn>
                <a:cxn ang="0">
                  <a:pos x="681" y="1203"/>
                </a:cxn>
                <a:cxn ang="0">
                  <a:pos x="696" y="1386"/>
                </a:cxn>
                <a:cxn ang="0">
                  <a:pos x="917" y="1325"/>
                </a:cxn>
                <a:cxn ang="0">
                  <a:pos x="1015" y="1479"/>
                </a:cxn>
                <a:cxn ang="0">
                  <a:pos x="1193" y="1411"/>
                </a:cxn>
                <a:cxn ang="0">
                  <a:pos x="1210" y="1257"/>
                </a:cxn>
                <a:cxn ang="0">
                  <a:pos x="1426" y="1180"/>
                </a:cxn>
                <a:cxn ang="0">
                  <a:pos x="1443" y="1006"/>
                </a:cxn>
                <a:cxn ang="0">
                  <a:pos x="1341" y="908"/>
                </a:cxn>
                <a:cxn ang="0">
                  <a:pos x="1412" y="727"/>
                </a:cxn>
                <a:cxn ang="0">
                  <a:pos x="1210" y="678"/>
                </a:cxn>
                <a:cxn ang="0">
                  <a:pos x="1147" y="571"/>
                </a:cxn>
                <a:cxn ang="0">
                  <a:pos x="1022" y="461"/>
                </a:cxn>
                <a:cxn ang="0">
                  <a:pos x="888" y="614"/>
                </a:cxn>
                <a:cxn ang="0">
                  <a:pos x="946" y="445"/>
                </a:cxn>
                <a:cxn ang="0">
                  <a:pos x="1095" y="606"/>
                </a:cxn>
                <a:cxn ang="0">
                  <a:pos x="1271" y="552"/>
                </a:cxn>
                <a:cxn ang="0">
                  <a:pos x="1399" y="665"/>
                </a:cxn>
                <a:cxn ang="0">
                  <a:pos x="1341" y="868"/>
                </a:cxn>
                <a:cxn ang="0">
                  <a:pos x="1480" y="1014"/>
                </a:cxn>
                <a:cxn ang="0">
                  <a:pos x="1355" y="1111"/>
                </a:cxn>
                <a:cxn ang="0">
                  <a:pos x="1333" y="1240"/>
                </a:cxn>
                <a:cxn ang="0">
                  <a:pos x="1262" y="1405"/>
                </a:cxn>
                <a:cxn ang="0">
                  <a:pos x="1050" y="1336"/>
                </a:cxn>
                <a:cxn ang="0">
                  <a:pos x="926" y="1473"/>
                </a:cxn>
                <a:cxn ang="0">
                  <a:pos x="760" y="1439"/>
                </a:cxn>
                <a:cxn ang="0">
                  <a:pos x="711" y="1235"/>
                </a:cxn>
                <a:cxn ang="0">
                  <a:pos x="521" y="1211"/>
                </a:cxn>
                <a:cxn ang="0">
                  <a:pos x="604" y="1042"/>
                </a:cxn>
                <a:cxn ang="0">
                  <a:pos x="502" y="913"/>
                </a:cxn>
                <a:cxn ang="0">
                  <a:pos x="511" y="743"/>
                </a:cxn>
                <a:cxn ang="0">
                  <a:pos x="695" y="714"/>
                </a:cxn>
                <a:cxn ang="0">
                  <a:pos x="663" y="486"/>
                </a:cxn>
                <a:cxn ang="0">
                  <a:pos x="799" y="398"/>
                </a:cxn>
                <a:cxn ang="0">
                  <a:pos x="752" y="201"/>
                </a:cxn>
                <a:cxn ang="0">
                  <a:pos x="527" y="168"/>
                </a:cxn>
                <a:cxn ang="0">
                  <a:pos x="440" y="71"/>
                </a:cxn>
                <a:cxn ang="0">
                  <a:pos x="248" y="50"/>
                </a:cxn>
                <a:cxn ang="0">
                  <a:pos x="192" y="263"/>
                </a:cxn>
                <a:cxn ang="0">
                  <a:pos x="39" y="309"/>
                </a:cxn>
                <a:cxn ang="0">
                  <a:pos x="16" y="503"/>
                </a:cxn>
                <a:cxn ang="0">
                  <a:pos x="219" y="596"/>
                </a:cxn>
                <a:cxn ang="0">
                  <a:pos x="218" y="784"/>
                </a:cxn>
                <a:cxn ang="0">
                  <a:pos x="390" y="696"/>
                </a:cxn>
              </a:cxnLst>
              <a:rect l="0" t="0" r="r" b="b"/>
              <a:pathLst>
                <a:path w="1488" h="1488">
                  <a:moveTo>
                    <a:pt x="421" y="841"/>
                  </a:moveTo>
                  <a:lnTo>
                    <a:pt x="405" y="792"/>
                  </a:lnTo>
                  <a:lnTo>
                    <a:pt x="393" y="755"/>
                  </a:lnTo>
                  <a:lnTo>
                    <a:pt x="384" y="729"/>
                  </a:lnTo>
                  <a:lnTo>
                    <a:pt x="378" y="712"/>
                  </a:lnTo>
                  <a:lnTo>
                    <a:pt x="375" y="701"/>
                  </a:lnTo>
                  <a:lnTo>
                    <a:pt x="373" y="695"/>
                  </a:lnTo>
                  <a:lnTo>
                    <a:pt x="373" y="696"/>
                  </a:lnTo>
                  <a:lnTo>
                    <a:pt x="372" y="694"/>
                  </a:lnTo>
                  <a:lnTo>
                    <a:pt x="379" y="698"/>
                  </a:lnTo>
                  <a:lnTo>
                    <a:pt x="364" y="697"/>
                  </a:lnTo>
                  <a:cubicBezTo>
                    <a:pt x="363" y="697"/>
                    <a:pt x="361" y="697"/>
                    <a:pt x="360" y="696"/>
                  </a:cubicBezTo>
                  <a:lnTo>
                    <a:pt x="346" y="687"/>
                  </a:lnTo>
                  <a:lnTo>
                    <a:pt x="350" y="688"/>
                  </a:lnTo>
                  <a:lnTo>
                    <a:pt x="344" y="688"/>
                  </a:lnTo>
                  <a:lnTo>
                    <a:pt x="330" y="688"/>
                  </a:lnTo>
                  <a:lnTo>
                    <a:pt x="336" y="686"/>
                  </a:lnTo>
                  <a:lnTo>
                    <a:pt x="301" y="722"/>
                  </a:lnTo>
                  <a:lnTo>
                    <a:pt x="274" y="749"/>
                  </a:lnTo>
                  <a:lnTo>
                    <a:pt x="255" y="768"/>
                  </a:lnTo>
                  <a:lnTo>
                    <a:pt x="242" y="781"/>
                  </a:lnTo>
                  <a:lnTo>
                    <a:pt x="231" y="793"/>
                  </a:lnTo>
                  <a:lnTo>
                    <a:pt x="229" y="795"/>
                  </a:lnTo>
                  <a:cubicBezTo>
                    <a:pt x="227" y="798"/>
                    <a:pt x="223" y="798"/>
                    <a:pt x="219" y="796"/>
                  </a:cubicBezTo>
                  <a:lnTo>
                    <a:pt x="197" y="783"/>
                  </a:lnTo>
                  <a:lnTo>
                    <a:pt x="180" y="773"/>
                  </a:lnTo>
                  <a:lnTo>
                    <a:pt x="160" y="761"/>
                  </a:lnTo>
                  <a:lnTo>
                    <a:pt x="153" y="758"/>
                  </a:lnTo>
                  <a:cubicBezTo>
                    <a:pt x="152" y="757"/>
                    <a:pt x="151" y="757"/>
                    <a:pt x="151" y="756"/>
                  </a:cubicBezTo>
                  <a:lnTo>
                    <a:pt x="150" y="755"/>
                  </a:lnTo>
                  <a:cubicBezTo>
                    <a:pt x="148" y="753"/>
                    <a:pt x="147" y="750"/>
                    <a:pt x="148" y="747"/>
                  </a:cubicBezTo>
                  <a:lnTo>
                    <a:pt x="167" y="698"/>
                  </a:lnTo>
                  <a:lnTo>
                    <a:pt x="182" y="660"/>
                  </a:lnTo>
                  <a:lnTo>
                    <a:pt x="192" y="635"/>
                  </a:lnTo>
                  <a:lnTo>
                    <a:pt x="199" y="617"/>
                  </a:lnTo>
                  <a:lnTo>
                    <a:pt x="203" y="607"/>
                  </a:lnTo>
                  <a:lnTo>
                    <a:pt x="205" y="601"/>
                  </a:lnTo>
                  <a:cubicBezTo>
                    <a:pt x="205" y="601"/>
                    <a:pt x="205" y="600"/>
                    <a:pt x="205" y="600"/>
                  </a:cubicBezTo>
                  <a:lnTo>
                    <a:pt x="206" y="598"/>
                  </a:lnTo>
                  <a:lnTo>
                    <a:pt x="207" y="607"/>
                  </a:lnTo>
                  <a:lnTo>
                    <a:pt x="193" y="591"/>
                  </a:lnTo>
                  <a:lnTo>
                    <a:pt x="178" y="567"/>
                  </a:lnTo>
                  <a:lnTo>
                    <a:pt x="185" y="570"/>
                  </a:lnTo>
                  <a:lnTo>
                    <a:pt x="137" y="576"/>
                  </a:lnTo>
                  <a:lnTo>
                    <a:pt x="102" y="581"/>
                  </a:lnTo>
                  <a:lnTo>
                    <a:pt x="75" y="584"/>
                  </a:lnTo>
                  <a:lnTo>
                    <a:pt x="58" y="587"/>
                  </a:lnTo>
                  <a:lnTo>
                    <a:pt x="47" y="588"/>
                  </a:lnTo>
                  <a:lnTo>
                    <a:pt x="42" y="589"/>
                  </a:lnTo>
                  <a:cubicBezTo>
                    <a:pt x="41" y="589"/>
                    <a:pt x="41" y="589"/>
                    <a:pt x="40" y="589"/>
                  </a:cubicBezTo>
                  <a:lnTo>
                    <a:pt x="38" y="589"/>
                  </a:lnTo>
                  <a:cubicBezTo>
                    <a:pt x="35" y="589"/>
                    <a:pt x="32" y="587"/>
                    <a:pt x="31" y="584"/>
                  </a:cubicBezTo>
                  <a:lnTo>
                    <a:pt x="21" y="558"/>
                  </a:lnTo>
                  <a:lnTo>
                    <a:pt x="14" y="538"/>
                  </a:lnTo>
                  <a:lnTo>
                    <a:pt x="5" y="515"/>
                  </a:lnTo>
                  <a:lnTo>
                    <a:pt x="1" y="507"/>
                  </a:lnTo>
                  <a:cubicBezTo>
                    <a:pt x="1" y="506"/>
                    <a:pt x="0" y="505"/>
                    <a:pt x="0" y="503"/>
                  </a:cubicBezTo>
                  <a:lnTo>
                    <a:pt x="0" y="502"/>
                  </a:lnTo>
                  <a:cubicBezTo>
                    <a:pt x="0" y="499"/>
                    <a:pt x="2" y="497"/>
                    <a:pt x="5" y="495"/>
                  </a:cubicBezTo>
                  <a:lnTo>
                    <a:pt x="50" y="472"/>
                  </a:lnTo>
                  <a:lnTo>
                    <a:pt x="84" y="455"/>
                  </a:lnTo>
                  <a:lnTo>
                    <a:pt x="109" y="443"/>
                  </a:lnTo>
                  <a:lnTo>
                    <a:pt x="125" y="435"/>
                  </a:lnTo>
                  <a:lnTo>
                    <a:pt x="135" y="430"/>
                  </a:lnTo>
                  <a:lnTo>
                    <a:pt x="139" y="428"/>
                  </a:lnTo>
                  <a:lnTo>
                    <a:pt x="142" y="426"/>
                  </a:lnTo>
                  <a:lnTo>
                    <a:pt x="137" y="433"/>
                  </a:lnTo>
                  <a:lnTo>
                    <a:pt x="137" y="409"/>
                  </a:lnTo>
                  <a:lnTo>
                    <a:pt x="137" y="384"/>
                  </a:lnTo>
                  <a:lnTo>
                    <a:pt x="141" y="391"/>
                  </a:lnTo>
                  <a:lnTo>
                    <a:pt x="99" y="365"/>
                  </a:lnTo>
                  <a:lnTo>
                    <a:pt x="68" y="345"/>
                  </a:lnTo>
                  <a:lnTo>
                    <a:pt x="45" y="331"/>
                  </a:lnTo>
                  <a:lnTo>
                    <a:pt x="30" y="322"/>
                  </a:lnTo>
                  <a:lnTo>
                    <a:pt x="16" y="313"/>
                  </a:lnTo>
                  <a:lnTo>
                    <a:pt x="15" y="313"/>
                  </a:lnTo>
                  <a:cubicBezTo>
                    <a:pt x="11" y="311"/>
                    <a:pt x="10" y="306"/>
                    <a:pt x="11" y="303"/>
                  </a:cubicBezTo>
                  <a:lnTo>
                    <a:pt x="21" y="277"/>
                  </a:lnTo>
                  <a:lnTo>
                    <a:pt x="28" y="257"/>
                  </a:lnTo>
                  <a:lnTo>
                    <a:pt x="36" y="234"/>
                  </a:lnTo>
                  <a:lnTo>
                    <a:pt x="40" y="224"/>
                  </a:lnTo>
                  <a:lnTo>
                    <a:pt x="39" y="227"/>
                  </a:lnTo>
                  <a:lnTo>
                    <a:pt x="39" y="226"/>
                  </a:lnTo>
                  <a:cubicBezTo>
                    <a:pt x="39" y="224"/>
                    <a:pt x="41" y="222"/>
                    <a:pt x="42" y="220"/>
                  </a:cubicBezTo>
                  <a:cubicBezTo>
                    <a:pt x="44" y="219"/>
                    <a:pt x="47" y="218"/>
                    <a:pt x="49" y="219"/>
                  </a:cubicBezTo>
                  <a:lnTo>
                    <a:pt x="98" y="229"/>
                  </a:lnTo>
                  <a:lnTo>
                    <a:pt x="134" y="236"/>
                  </a:lnTo>
                  <a:lnTo>
                    <a:pt x="160" y="241"/>
                  </a:lnTo>
                  <a:lnTo>
                    <a:pt x="178" y="244"/>
                  </a:lnTo>
                  <a:lnTo>
                    <a:pt x="188" y="246"/>
                  </a:lnTo>
                  <a:lnTo>
                    <a:pt x="195" y="248"/>
                  </a:lnTo>
                  <a:lnTo>
                    <a:pt x="192" y="247"/>
                  </a:lnTo>
                  <a:lnTo>
                    <a:pt x="194" y="247"/>
                  </a:lnTo>
                  <a:lnTo>
                    <a:pt x="189" y="250"/>
                  </a:lnTo>
                  <a:lnTo>
                    <a:pt x="204" y="235"/>
                  </a:lnTo>
                  <a:lnTo>
                    <a:pt x="228" y="211"/>
                  </a:lnTo>
                  <a:lnTo>
                    <a:pt x="226" y="219"/>
                  </a:lnTo>
                  <a:lnTo>
                    <a:pt x="210" y="170"/>
                  </a:lnTo>
                  <a:lnTo>
                    <a:pt x="198" y="133"/>
                  </a:lnTo>
                  <a:lnTo>
                    <a:pt x="189" y="107"/>
                  </a:lnTo>
                  <a:lnTo>
                    <a:pt x="183" y="90"/>
                  </a:lnTo>
                  <a:lnTo>
                    <a:pt x="180" y="79"/>
                  </a:lnTo>
                  <a:lnTo>
                    <a:pt x="178" y="73"/>
                  </a:lnTo>
                  <a:lnTo>
                    <a:pt x="178" y="74"/>
                  </a:lnTo>
                  <a:lnTo>
                    <a:pt x="177" y="72"/>
                  </a:lnTo>
                  <a:cubicBezTo>
                    <a:pt x="176" y="70"/>
                    <a:pt x="176" y="68"/>
                    <a:pt x="177" y="66"/>
                  </a:cubicBezTo>
                  <a:cubicBezTo>
                    <a:pt x="178" y="64"/>
                    <a:pt x="179" y="62"/>
                    <a:pt x="181" y="61"/>
                  </a:cubicBezTo>
                  <a:lnTo>
                    <a:pt x="203" y="51"/>
                  </a:lnTo>
                  <a:lnTo>
                    <a:pt x="220" y="44"/>
                  </a:lnTo>
                  <a:lnTo>
                    <a:pt x="241" y="35"/>
                  </a:lnTo>
                  <a:lnTo>
                    <a:pt x="247" y="32"/>
                  </a:lnTo>
                  <a:cubicBezTo>
                    <a:pt x="249" y="31"/>
                    <a:pt x="250" y="30"/>
                    <a:pt x="251" y="30"/>
                  </a:cubicBezTo>
                  <a:lnTo>
                    <a:pt x="252" y="30"/>
                  </a:lnTo>
                  <a:cubicBezTo>
                    <a:pt x="255" y="30"/>
                    <a:pt x="257" y="32"/>
                    <a:pt x="259" y="33"/>
                  </a:cubicBezTo>
                  <a:lnTo>
                    <a:pt x="291" y="72"/>
                  </a:lnTo>
                  <a:lnTo>
                    <a:pt x="316" y="102"/>
                  </a:lnTo>
                  <a:lnTo>
                    <a:pt x="333" y="123"/>
                  </a:lnTo>
                  <a:lnTo>
                    <a:pt x="345" y="137"/>
                  </a:lnTo>
                  <a:lnTo>
                    <a:pt x="355" y="151"/>
                  </a:lnTo>
                  <a:lnTo>
                    <a:pt x="356" y="152"/>
                  </a:lnTo>
                  <a:lnTo>
                    <a:pt x="348" y="150"/>
                  </a:lnTo>
                  <a:lnTo>
                    <a:pt x="372" y="141"/>
                  </a:lnTo>
                  <a:cubicBezTo>
                    <a:pt x="372" y="141"/>
                    <a:pt x="373" y="141"/>
                    <a:pt x="374" y="140"/>
                  </a:cubicBezTo>
                  <a:lnTo>
                    <a:pt x="398" y="139"/>
                  </a:lnTo>
                  <a:lnTo>
                    <a:pt x="391" y="144"/>
                  </a:lnTo>
                  <a:lnTo>
                    <a:pt x="410" y="98"/>
                  </a:lnTo>
                  <a:lnTo>
                    <a:pt x="425" y="64"/>
                  </a:lnTo>
                  <a:lnTo>
                    <a:pt x="436" y="39"/>
                  </a:lnTo>
                  <a:lnTo>
                    <a:pt x="443" y="22"/>
                  </a:lnTo>
                  <a:lnTo>
                    <a:pt x="447" y="12"/>
                  </a:lnTo>
                  <a:lnTo>
                    <a:pt x="449" y="7"/>
                  </a:lnTo>
                  <a:lnTo>
                    <a:pt x="450" y="5"/>
                  </a:lnTo>
                  <a:cubicBezTo>
                    <a:pt x="452" y="2"/>
                    <a:pt x="455" y="0"/>
                    <a:pt x="458" y="1"/>
                  </a:cubicBezTo>
                  <a:lnTo>
                    <a:pt x="484" y="4"/>
                  </a:lnTo>
                  <a:lnTo>
                    <a:pt x="504" y="7"/>
                  </a:lnTo>
                  <a:lnTo>
                    <a:pt x="527" y="10"/>
                  </a:lnTo>
                  <a:lnTo>
                    <a:pt x="535" y="11"/>
                  </a:lnTo>
                  <a:lnTo>
                    <a:pt x="535" y="10"/>
                  </a:lnTo>
                  <a:cubicBezTo>
                    <a:pt x="540" y="10"/>
                    <a:pt x="543" y="14"/>
                    <a:pt x="543" y="18"/>
                  </a:cubicBezTo>
                  <a:lnTo>
                    <a:pt x="543" y="70"/>
                  </a:lnTo>
                  <a:lnTo>
                    <a:pt x="543" y="109"/>
                  </a:lnTo>
                  <a:lnTo>
                    <a:pt x="543" y="137"/>
                  </a:lnTo>
                  <a:lnTo>
                    <a:pt x="543" y="156"/>
                  </a:lnTo>
                  <a:lnTo>
                    <a:pt x="543" y="168"/>
                  </a:lnTo>
                  <a:lnTo>
                    <a:pt x="543" y="174"/>
                  </a:lnTo>
                  <a:lnTo>
                    <a:pt x="543" y="176"/>
                  </a:lnTo>
                  <a:lnTo>
                    <a:pt x="540" y="170"/>
                  </a:lnTo>
                  <a:lnTo>
                    <a:pt x="560" y="185"/>
                  </a:lnTo>
                  <a:lnTo>
                    <a:pt x="579" y="200"/>
                  </a:lnTo>
                  <a:lnTo>
                    <a:pt x="571" y="199"/>
                  </a:lnTo>
                  <a:lnTo>
                    <a:pt x="616" y="176"/>
                  </a:lnTo>
                  <a:lnTo>
                    <a:pt x="650" y="159"/>
                  </a:lnTo>
                  <a:lnTo>
                    <a:pt x="674" y="147"/>
                  </a:lnTo>
                  <a:lnTo>
                    <a:pt x="690" y="139"/>
                  </a:lnTo>
                  <a:lnTo>
                    <a:pt x="700" y="134"/>
                  </a:lnTo>
                  <a:lnTo>
                    <a:pt x="704" y="132"/>
                  </a:lnTo>
                  <a:lnTo>
                    <a:pt x="707" y="130"/>
                  </a:lnTo>
                  <a:cubicBezTo>
                    <a:pt x="710" y="129"/>
                    <a:pt x="714" y="129"/>
                    <a:pt x="717" y="132"/>
                  </a:cubicBezTo>
                  <a:lnTo>
                    <a:pt x="745" y="166"/>
                  </a:lnTo>
                  <a:lnTo>
                    <a:pt x="760" y="184"/>
                  </a:lnTo>
                  <a:lnTo>
                    <a:pt x="765" y="190"/>
                  </a:lnTo>
                  <a:lnTo>
                    <a:pt x="765" y="191"/>
                  </a:lnTo>
                  <a:cubicBezTo>
                    <a:pt x="768" y="194"/>
                    <a:pt x="768" y="199"/>
                    <a:pt x="765" y="202"/>
                  </a:cubicBezTo>
                  <a:lnTo>
                    <a:pt x="730" y="241"/>
                  </a:lnTo>
                  <a:lnTo>
                    <a:pt x="703" y="271"/>
                  </a:lnTo>
                  <a:lnTo>
                    <a:pt x="684" y="292"/>
                  </a:lnTo>
                  <a:lnTo>
                    <a:pt x="671" y="306"/>
                  </a:lnTo>
                  <a:lnTo>
                    <a:pt x="661" y="319"/>
                  </a:lnTo>
                  <a:lnTo>
                    <a:pt x="658" y="321"/>
                  </a:lnTo>
                  <a:lnTo>
                    <a:pt x="659" y="311"/>
                  </a:lnTo>
                  <a:lnTo>
                    <a:pt x="672" y="332"/>
                  </a:lnTo>
                  <a:cubicBezTo>
                    <a:pt x="673" y="333"/>
                    <a:pt x="673" y="334"/>
                    <a:pt x="673" y="335"/>
                  </a:cubicBezTo>
                  <a:lnTo>
                    <a:pt x="679" y="363"/>
                  </a:lnTo>
                  <a:lnTo>
                    <a:pt x="673" y="357"/>
                  </a:lnTo>
                  <a:lnTo>
                    <a:pt x="722" y="367"/>
                  </a:lnTo>
                  <a:lnTo>
                    <a:pt x="758" y="374"/>
                  </a:lnTo>
                  <a:lnTo>
                    <a:pt x="784" y="380"/>
                  </a:lnTo>
                  <a:lnTo>
                    <a:pt x="802" y="383"/>
                  </a:lnTo>
                  <a:lnTo>
                    <a:pt x="812" y="385"/>
                  </a:lnTo>
                  <a:lnTo>
                    <a:pt x="819" y="387"/>
                  </a:lnTo>
                  <a:lnTo>
                    <a:pt x="816" y="386"/>
                  </a:lnTo>
                  <a:lnTo>
                    <a:pt x="818" y="386"/>
                  </a:lnTo>
                  <a:cubicBezTo>
                    <a:pt x="823" y="386"/>
                    <a:pt x="826" y="390"/>
                    <a:pt x="826" y="394"/>
                  </a:cubicBezTo>
                  <a:lnTo>
                    <a:pt x="826" y="420"/>
                  </a:lnTo>
                  <a:lnTo>
                    <a:pt x="826" y="440"/>
                  </a:lnTo>
                  <a:lnTo>
                    <a:pt x="826" y="463"/>
                  </a:lnTo>
                  <a:lnTo>
                    <a:pt x="826" y="472"/>
                  </a:lnTo>
                  <a:lnTo>
                    <a:pt x="826" y="473"/>
                  </a:lnTo>
                  <a:cubicBezTo>
                    <a:pt x="826" y="477"/>
                    <a:pt x="824" y="481"/>
                    <a:pt x="820" y="481"/>
                  </a:cubicBezTo>
                  <a:lnTo>
                    <a:pt x="769" y="488"/>
                  </a:lnTo>
                  <a:lnTo>
                    <a:pt x="729" y="493"/>
                  </a:lnTo>
                  <a:lnTo>
                    <a:pt x="701" y="496"/>
                  </a:lnTo>
                  <a:lnTo>
                    <a:pt x="684" y="499"/>
                  </a:lnTo>
                  <a:lnTo>
                    <a:pt x="671" y="500"/>
                  </a:lnTo>
                  <a:lnTo>
                    <a:pt x="666" y="501"/>
                  </a:lnTo>
                  <a:cubicBezTo>
                    <a:pt x="665" y="501"/>
                    <a:pt x="665" y="501"/>
                    <a:pt x="664" y="501"/>
                  </a:cubicBezTo>
                  <a:lnTo>
                    <a:pt x="662" y="501"/>
                  </a:lnTo>
                  <a:lnTo>
                    <a:pt x="670" y="495"/>
                  </a:lnTo>
                  <a:lnTo>
                    <a:pt x="665" y="523"/>
                  </a:lnTo>
                  <a:lnTo>
                    <a:pt x="660" y="544"/>
                  </a:lnTo>
                  <a:lnTo>
                    <a:pt x="659" y="538"/>
                  </a:lnTo>
                  <a:lnTo>
                    <a:pt x="685" y="580"/>
                  </a:lnTo>
                  <a:lnTo>
                    <a:pt x="704" y="612"/>
                  </a:lnTo>
                  <a:lnTo>
                    <a:pt x="718" y="635"/>
                  </a:lnTo>
                  <a:lnTo>
                    <a:pt x="727" y="650"/>
                  </a:lnTo>
                  <a:lnTo>
                    <a:pt x="736" y="664"/>
                  </a:lnTo>
                  <a:lnTo>
                    <a:pt x="738" y="667"/>
                  </a:lnTo>
                  <a:cubicBezTo>
                    <a:pt x="739" y="669"/>
                    <a:pt x="739" y="672"/>
                    <a:pt x="737" y="675"/>
                  </a:cubicBezTo>
                  <a:lnTo>
                    <a:pt x="720" y="704"/>
                  </a:lnTo>
                  <a:lnTo>
                    <a:pt x="713" y="718"/>
                  </a:lnTo>
                  <a:cubicBezTo>
                    <a:pt x="712" y="719"/>
                    <a:pt x="712" y="719"/>
                    <a:pt x="712" y="719"/>
                  </a:cubicBezTo>
                  <a:lnTo>
                    <a:pt x="708" y="724"/>
                  </a:lnTo>
                  <a:lnTo>
                    <a:pt x="709" y="719"/>
                  </a:lnTo>
                  <a:lnTo>
                    <a:pt x="709" y="720"/>
                  </a:lnTo>
                  <a:cubicBezTo>
                    <a:pt x="709" y="723"/>
                    <a:pt x="708" y="725"/>
                    <a:pt x="706" y="727"/>
                  </a:cubicBezTo>
                  <a:cubicBezTo>
                    <a:pt x="704" y="728"/>
                    <a:pt x="701" y="729"/>
                    <a:pt x="699" y="728"/>
                  </a:cubicBezTo>
                  <a:lnTo>
                    <a:pt x="650" y="711"/>
                  </a:lnTo>
                  <a:lnTo>
                    <a:pt x="614" y="699"/>
                  </a:lnTo>
                  <a:lnTo>
                    <a:pt x="588" y="690"/>
                  </a:lnTo>
                  <a:lnTo>
                    <a:pt x="570" y="684"/>
                  </a:lnTo>
                  <a:lnTo>
                    <a:pt x="560" y="681"/>
                  </a:lnTo>
                  <a:lnTo>
                    <a:pt x="554" y="679"/>
                  </a:lnTo>
                  <a:cubicBezTo>
                    <a:pt x="554" y="679"/>
                    <a:pt x="553" y="679"/>
                    <a:pt x="553" y="679"/>
                  </a:cubicBezTo>
                  <a:lnTo>
                    <a:pt x="551" y="678"/>
                  </a:lnTo>
                  <a:lnTo>
                    <a:pt x="562" y="674"/>
                  </a:lnTo>
                  <a:lnTo>
                    <a:pt x="549" y="700"/>
                  </a:lnTo>
                  <a:lnTo>
                    <a:pt x="539" y="720"/>
                  </a:lnTo>
                  <a:lnTo>
                    <a:pt x="528" y="743"/>
                  </a:lnTo>
                  <a:lnTo>
                    <a:pt x="524" y="752"/>
                  </a:lnTo>
                  <a:cubicBezTo>
                    <a:pt x="523" y="753"/>
                    <a:pt x="523" y="753"/>
                    <a:pt x="522" y="754"/>
                  </a:cubicBezTo>
                  <a:lnTo>
                    <a:pt x="521" y="755"/>
                  </a:lnTo>
                  <a:lnTo>
                    <a:pt x="520" y="743"/>
                  </a:lnTo>
                  <a:lnTo>
                    <a:pt x="559" y="772"/>
                  </a:lnTo>
                  <a:lnTo>
                    <a:pt x="588" y="794"/>
                  </a:lnTo>
                  <a:lnTo>
                    <a:pt x="608" y="810"/>
                  </a:lnTo>
                  <a:lnTo>
                    <a:pt x="622" y="821"/>
                  </a:lnTo>
                  <a:lnTo>
                    <a:pt x="635" y="831"/>
                  </a:lnTo>
                  <a:lnTo>
                    <a:pt x="634" y="830"/>
                  </a:lnTo>
                  <a:lnTo>
                    <a:pt x="636" y="831"/>
                  </a:lnTo>
                  <a:cubicBezTo>
                    <a:pt x="640" y="833"/>
                    <a:pt x="641" y="837"/>
                    <a:pt x="640" y="841"/>
                  </a:cubicBezTo>
                  <a:lnTo>
                    <a:pt x="631" y="871"/>
                  </a:lnTo>
                  <a:lnTo>
                    <a:pt x="621" y="901"/>
                  </a:lnTo>
                  <a:cubicBezTo>
                    <a:pt x="620" y="904"/>
                    <a:pt x="618" y="906"/>
                    <a:pt x="615" y="906"/>
                  </a:cubicBezTo>
                  <a:lnTo>
                    <a:pt x="567" y="916"/>
                  </a:lnTo>
                  <a:lnTo>
                    <a:pt x="531" y="923"/>
                  </a:lnTo>
                  <a:lnTo>
                    <a:pt x="505" y="928"/>
                  </a:lnTo>
                  <a:lnTo>
                    <a:pt x="487" y="931"/>
                  </a:lnTo>
                  <a:lnTo>
                    <a:pt x="477" y="933"/>
                  </a:lnTo>
                  <a:lnTo>
                    <a:pt x="472" y="935"/>
                  </a:lnTo>
                  <a:cubicBezTo>
                    <a:pt x="471" y="935"/>
                    <a:pt x="470" y="935"/>
                    <a:pt x="469" y="935"/>
                  </a:cubicBezTo>
                  <a:lnTo>
                    <a:pt x="467" y="935"/>
                  </a:lnTo>
                  <a:lnTo>
                    <a:pt x="475" y="927"/>
                  </a:lnTo>
                  <a:lnTo>
                    <a:pt x="475" y="953"/>
                  </a:lnTo>
                  <a:lnTo>
                    <a:pt x="475" y="973"/>
                  </a:lnTo>
                  <a:lnTo>
                    <a:pt x="475" y="996"/>
                  </a:lnTo>
                  <a:lnTo>
                    <a:pt x="475" y="1005"/>
                  </a:lnTo>
                  <a:lnTo>
                    <a:pt x="475" y="1006"/>
                  </a:lnTo>
                  <a:lnTo>
                    <a:pt x="469" y="999"/>
                  </a:lnTo>
                  <a:lnTo>
                    <a:pt x="517" y="1009"/>
                  </a:lnTo>
                  <a:lnTo>
                    <a:pt x="553" y="1016"/>
                  </a:lnTo>
                  <a:lnTo>
                    <a:pt x="579" y="1022"/>
                  </a:lnTo>
                  <a:lnTo>
                    <a:pt x="597" y="1025"/>
                  </a:lnTo>
                  <a:lnTo>
                    <a:pt x="607" y="1027"/>
                  </a:lnTo>
                  <a:lnTo>
                    <a:pt x="614" y="1029"/>
                  </a:lnTo>
                  <a:lnTo>
                    <a:pt x="611" y="1028"/>
                  </a:lnTo>
                  <a:lnTo>
                    <a:pt x="613" y="1028"/>
                  </a:lnTo>
                  <a:cubicBezTo>
                    <a:pt x="617" y="1028"/>
                    <a:pt x="620" y="1031"/>
                    <a:pt x="621" y="1034"/>
                  </a:cubicBezTo>
                  <a:lnTo>
                    <a:pt x="631" y="1064"/>
                  </a:lnTo>
                  <a:lnTo>
                    <a:pt x="640" y="1093"/>
                  </a:lnTo>
                  <a:cubicBezTo>
                    <a:pt x="641" y="1096"/>
                    <a:pt x="640" y="1100"/>
                    <a:pt x="637" y="1102"/>
                  </a:cubicBezTo>
                  <a:lnTo>
                    <a:pt x="598" y="1131"/>
                  </a:lnTo>
                  <a:lnTo>
                    <a:pt x="569" y="1153"/>
                  </a:lnTo>
                  <a:lnTo>
                    <a:pt x="549" y="1169"/>
                  </a:lnTo>
                  <a:lnTo>
                    <a:pt x="535" y="1180"/>
                  </a:lnTo>
                  <a:lnTo>
                    <a:pt x="522" y="1190"/>
                  </a:lnTo>
                  <a:cubicBezTo>
                    <a:pt x="522" y="1190"/>
                    <a:pt x="522" y="1190"/>
                    <a:pt x="521" y="1191"/>
                  </a:cubicBezTo>
                  <a:lnTo>
                    <a:pt x="519" y="1192"/>
                  </a:lnTo>
                  <a:lnTo>
                    <a:pt x="522" y="1181"/>
                  </a:lnTo>
                  <a:lnTo>
                    <a:pt x="535" y="1204"/>
                  </a:lnTo>
                  <a:lnTo>
                    <a:pt x="545" y="1220"/>
                  </a:lnTo>
                  <a:lnTo>
                    <a:pt x="556" y="1241"/>
                  </a:lnTo>
                  <a:lnTo>
                    <a:pt x="561" y="1249"/>
                  </a:lnTo>
                  <a:lnTo>
                    <a:pt x="559" y="1247"/>
                  </a:lnTo>
                  <a:lnTo>
                    <a:pt x="560" y="1248"/>
                  </a:lnTo>
                  <a:lnTo>
                    <a:pt x="552" y="1246"/>
                  </a:lnTo>
                  <a:lnTo>
                    <a:pt x="601" y="1230"/>
                  </a:lnTo>
                  <a:lnTo>
                    <a:pt x="637" y="1218"/>
                  </a:lnTo>
                  <a:lnTo>
                    <a:pt x="663" y="1209"/>
                  </a:lnTo>
                  <a:lnTo>
                    <a:pt x="681" y="1203"/>
                  </a:lnTo>
                  <a:lnTo>
                    <a:pt x="691" y="1200"/>
                  </a:lnTo>
                  <a:lnTo>
                    <a:pt x="697" y="1198"/>
                  </a:lnTo>
                  <a:lnTo>
                    <a:pt x="696" y="1198"/>
                  </a:lnTo>
                  <a:lnTo>
                    <a:pt x="698" y="1197"/>
                  </a:lnTo>
                  <a:cubicBezTo>
                    <a:pt x="702" y="1195"/>
                    <a:pt x="706" y="1197"/>
                    <a:pt x="708" y="1200"/>
                  </a:cubicBezTo>
                  <a:lnTo>
                    <a:pt x="723" y="1225"/>
                  </a:lnTo>
                  <a:lnTo>
                    <a:pt x="722" y="1224"/>
                  </a:lnTo>
                  <a:lnTo>
                    <a:pt x="746" y="1248"/>
                  </a:lnTo>
                  <a:cubicBezTo>
                    <a:pt x="748" y="1250"/>
                    <a:pt x="749" y="1253"/>
                    <a:pt x="748" y="1256"/>
                  </a:cubicBezTo>
                  <a:lnTo>
                    <a:pt x="732" y="1302"/>
                  </a:lnTo>
                  <a:lnTo>
                    <a:pt x="720" y="1336"/>
                  </a:lnTo>
                  <a:lnTo>
                    <a:pt x="711" y="1361"/>
                  </a:lnTo>
                  <a:lnTo>
                    <a:pt x="705" y="1378"/>
                  </a:lnTo>
                  <a:lnTo>
                    <a:pt x="702" y="1388"/>
                  </a:lnTo>
                  <a:lnTo>
                    <a:pt x="700" y="1393"/>
                  </a:lnTo>
                  <a:lnTo>
                    <a:pt x="699" y="1396"/>
                  </a:lnTo>
                  <a:lnTo>
                    <a:pt x="696" y="1386"/>
                  </a:lnTo>
                  <a:lnTo>
                    <a:pt x="718" y="1399"/>
                  </a:lnTo>
                  <a:lnTo>
                    <a:pt x="735" y="1409"/>
                  </a:lnTo>
                  <a:lnTo>
                    <a:pt x="755" y="1419"/>
                  </a:lnTo>
                  <a:lnTo>
                    <a:pt x="762" y="1424"/>
                  </a:lnTo>
                  <a:cubicBezTo>
                    <a:pt x="763" y="1424"/>
                    <a:pt x="764" y="1424"/>
                    <a:pt x="764" y="1425"/>
                  </a:cubicBezTo>
                  <a:lnTo>
                    <a:pt x="765" y="1426"/>
                  </a:lnTo>
                  <a:lnTo>
                    <a:pt x="753" y="1426"/>
                  </a:lnTo>
                  <a:lnTo>
                    <a:pt x="785" y="1387"/>
                  </a:lnTo>
                  <a:lnTo>
                    <a:pt x="810" y="1358"/>
                  </a:lnTo>
                  <a:lnTo>
                    <a:pt x="827" y="1337"/>
                  </a:lnTo>
                  <a:lnTo>
                    <a:pt x="839" y="1323"/>
                  </a:lnTo>
                  <a:lnTo>
                    <a:pt x="849" y="1311"/>
                  </a:lnTo>
                  <a:lnTo>
                    <a:pt x="852" y="1308"/>
                  </a:lnTo>
                  <a:cubicBezTo>
                    <a:pt x="854" y="1305"/>
                    <a:pt x="858" y="1305"/>
                    <a:pt x="861" y="1306"/>
                  </a:cubicBezTo>
                  <a:lnTo>
                    <a:pt x="890" y="1319"/>
                  </a:lnTo>
                  <a:lnTo>
                    <a:pt x="888" y="1319"/>
                  </a:lnTo>
                  <a:lnTo>
                    <a:pt x="917" y="1325"/>
                  </a:lnTo>
                  <a:cubicBezTo>
                    <a:pt x="920" y="1325"/>
                    <a:pt x="923" y="1328"/>
                    <a:pt x="923" y="1331"/>
                  </a:cubicBezTo>
                  <a:lnTo>
                    <a:pt x="930" y="1380"/>
                  </a:lnTo>
                  <a:lnTo>
                    <a:pt x="935" y="1417"/>
                  </a:lnTo>
                  <a:lnTo>
                    <a:pt x="938" y="1444"/>
                  </a:lnTo>
                  <a:lnTo>
                    <a:pt x="941" y="1461"/>
                  </a:lnTo>
                  <a:lnTo>
                    <a:pt x="942" y="1472"/>
                  </a:lnTo>
                  <a:lnTo>
                    <a:pt x="943" y="1477"/>
                  </a:lnTo>
                  <a:cubicBezTo>
                    <a:pt x="943" y="1478"/>
                    <a:pt x="943" y="1478"/>
                    <a:pt x="943" y="1478"/>
                  </a:cubicBezTo>
                  <a:lnTo>
                    <a:pt x="943" y="1480"/>
                  </a:lnTo>
                  <a:lnTo>
                    <a:pt x="935" y="1472"/>
                  </a:lnTo>
                  <a:lnTo>
                    <a:pt x="964" y="1472"/>
                  </a:lnTo>
                  <a:lnTo>
                    <a:pt x="985" y="1472"/>
                  </a:lnTo>
                  <a:lnTo>
                    <a:pt x="1001" y="1472"/>
                  </a:lnTo>
                  <a:lnTo>
                    <a:pt x="1011" y="1472"/>
                  </a:lnTo>
                  <a:lnTo>
                    <a:pt x="1021" y="1472"/>
                  </a:lnTo>
                  <a:lnTo>
                    <a:pt x="1022" y="1472"/>
                  </a:lnTo>
                  <a:lnTo>
                    <a:pt x="1015" y="1479"/>
                  </a:lnTo>
                  <a:lnTo>
                    <a:pt x="1022" y="1430"/>
                  </a:lnTo>
                  <a:lnTo>
                    <a:pt x="1027" y="1393"/>
                  </a:lnTo>
                  <a:lnTo>
                    <a:pt x="1030" y="1368"/>
                  </a:lnTo>
                  <a:lnTo>
                    <a:pt x="1033" y="1350"/>
                  </a:lnTo>
                  <a:lnTo>
                    <a:pt x="1033" y="1340"/>
                  </a:lnTo>
                  <a:lnTo>
                    <a:pt x="1035" y="1333"/>
                  </a:lnTo>
                  <a:lnTo>
                    <a:pt x="1034" y="1334"/>
                  </a:lnTo>
                  <a:lnTo>
                    <a:pt x="1034" y="1332"/>
                  </a:lnTo>
                  <a:cubicBezTo>
                    <a:pt x="1034" y="1329"/>
                    <a:pt x="1037" y="1325"/>
                    <a:pt x="1041" y="1325"/>
                  </a:cubicBezTo>
                  <a:lnTo>
                    <a:pt x="1070" y="1319"/>
                  </a:lnTo>
                  <a:lnTo>
                    <a:pt x="1068" y="1319"/>
                  </a:lnTo>
                  <a:lnTo>
                    <a:pt x="1097" y="1306"/>
                  </a:lnTo>
                  <a:cubicBezTo>
                    <a:pt x="1100" y="1305"/>
                    <a:pt x="1104" y="1306"/>
                    <a:pt x="1107" y="1308"/>
                  </a:cubicBezTo>
                  <a:lnTo>
                    <a:pt x="1139" y="1347"/>
                  </a:lnTo>
                  <a:lnTo>
                    <a:pt x="1164" y="1376"/>
                  </a:lnTo>
                  <a:lnTo>
                    <a:pt x="1181" y="1397"/>
                  </a:lnTo>
                  <a:lnTo>
                    <a:pt x="1193" y="1411"/>
                  </a:lnTo>
                  <a:lnTo>
                    <a:pt x="1203" y="1425"/>
                  </a:lnTo>
                  <a:lnTo>
                    <a:pt x="1204" y="1426"/>
                  </a:lnTo>
                  <a:lnTo>
                    <a:pt x="1194" y="1425"/>
                  </a:lnTo>
                  <a:lnTo>
                    <a:pt x="1216" y="1412"/>
                  </a:lnTo>
                  <a:lnTo>
                    <a:pt x="1233" y="1402"/>
                  </a:lnTo>
                  <a:lnTo>
                    <a:pt x="1255" y="1390"/>
                  </a:lnTo>
                  <a:lnTo>
                    <a:pt x="1261" y="1387"/>
                  </a:lnTo>
                  <a:lnTo>
                    <a:pt x="1260" y="1388"/>
                  </a:lnTo>
                  <a:lnTo>
                    <a:pt x="1261" y="1387"/>
                  </a:lnTo>
                  <a:lnTo>
                    <a:pt x="1259" y="1395"/>
                  </a:lnTo>
                  <a:lnTo>
                    <a:pt x="1243" y="1349"/>
                  </a:lnTo>
                  <a:lnTo>
                    <a:pt x="1231" y="1315"/>
                  </a:lnTo>
                  <a:lnTo>
                    <a:pt x="1222" y="1290"/>
                  </a:lnTo>
                  <a:lnTo>
                    <a:pt x="1216" y="1273"/>
                  </a:lnTo>
                  <a:lnTo>
                    <a:pt x="1213" y="1263"/>
                  </a:lnTo>
                  <a:lnTo>
                    <a:pt x="1211" y="1258"/>
                  </a:lnTo>
                  <a:lnTo>
                    <a:pt x="1210" y="1257"/>
                  </a:lnTo>
                  <a:cubicBezTo>
                    <a:pt x="1209" y="1254"/>
                    <a:pt x="1209" y="1251"/>
                    <a:pt x="1211" y="1248"/>
                  </a:cubicBezTo>
                  <a:lnTo>
                    <a:pt x="1231" y="1224"/>
                  </a:lnTo>
                  <a:lnTo>
                    <a:pt x="1250" y="1200"/>
                  </a:lnTo>
                  <a:cubicBezTo>
                    <a:pt x="1252" y="1197"/>
                    <a:pt x="1256" y="1196"/>
                    <a:pt x="1259" y="1197"/>
                  </a:cubicBezTo>
                  <a:lnTo>
                    <a:pt x="1304" y="1213"/>
                  </a:lnTo>
                  <a:lnTo>
                    <a:pt x="1338" y="1225"/>
                  </a:lnTo>
                  <a:lnTo>
                    <a:pt x="1363" y="1234"/>
                  </a:lnTo>
                  <a:lnTo>
                    <a:pt x="1379" y="1240"/>
                  </a:lnTo>
                  <a:lnTo>
                    <a:pt x="1389" y="1243"/>
                  </a:lnTo>
                  <a:lnTo>
                    <a:pt x="1394" y="1245"/>
                  </a:lnTo>
                  <a:lnTo>
                    <a:pt x="1397" y="1246"/>
                  </a:lnTo>
                  <a:lnTo>
                    <a:pt x="1386" y="1250"/>
                  </a:lnTo>
                  <a:lnTo>
                    <a:pt x="1399" y="1227"/>
                  </a:lnTo>
                  <a:lnTo>
                    <a:pt x="1410" y="1209"/>
                  </a:lnTo>
                  <a:lnTo>
                    <a:pt x="1420" y="1190"/>
                  </a:lnTo>
                  <a:lnTo>
                    <a:pt x="1424" y="1182"/>
                  </a:lnTo>
                  <a:cubicBezTo>
                    <a:pt x="1425" y="1181"/>
                    <a:pt x="1425" y="1180"/>
                    <a:pt x="1426" y="1180"/>
                  </a:cubicBezTo>
                  <a:lnTo>
                    <a:pt x="1427" y="1179"/>
                  </a:lnTo>
                  <a:lnTo>
                    <a:pt x="1427" y="1191"/>
                  </a:lnTo>
                  <a:lnTo>
                    <a:pt x="1391" y="1162"/>
                  </a:lnTo>
                  <a:lnTo>
                    <a:pt x="1365" y="1140"/>
                  </a:lnTo>
                  <a:lnTo>
                    <a:pt x="1345" y="1124"/>
                  </a:lnTo>
                  <a:lnTo>
                    <a:pt x="1333" y="1112"/>
                  </a:lnTo>
                  <a:lnTo>
                    <a:pt x="1321" y="1103"/>
                  </a:lnTo>
                  <a:lnTo>
                    <a:pt x="1323" y="1104"/>
                  </a:lnTo>
                  <a:lnTo>
                    <a:pt x="1321" y="1103"/>
                  </a:lnTo>
                  <a:cubicBezTo>
                    <a:pt x="1317" y="1101"/>
                    <a:pt x="1316" y="1097"/>
                    <a:pt x="1317" y="1093"/>
                  </a:cubicBezTo>
                  <a:lnTo>
                    <a:pt x="1326" y="1064"/>
                  </a:lnTo>
                  <a:lnTo>
                    <a:pt x="1325" y="1066"/>
                  </a:lnTo>
                  <a:lnTo>
                    <a:pt x="1326" y="1036"/>
                  </a:lnTo>
                  <a:cubicBezTo>
                    <a:pt x="1327" y="1033"/>
                    <a:pt x="1329" y="1029"/>
                    <a:pt x="1333" y="1029"/>
                  </a:cubicBezTo>
                  <a:lnTo>
                    <a:pt x="1381" y="1019"/>
                  </a:lnTo>
                  <a:lnTo>
                    <a:pt x="1417" y="1012"/>
                  </a:lnTo>
                  <a:lnTo>
                    <a:pt x="1443" y="1006"/>
                  </a:lnTo>
                  <a:lnTo>
                    <a:pt x="1461" y="1003"/>
                  </a:lnTo>
                  <a:lnTo>
                    <a:pt x="1471" y="1001"/>
                  </a:lnTo>
                  <a:lnTo>
                    <a:pt x="1476" y="999"/>
                  </a:lnTo>
                  <a:cubicBezTo>
                    <a:pt x="1477" y="999"/>
                    <a:pt x="1478" y="998"/>
                    <a:pt x="1478" y="998"/>
                  </a:cubicBezTo>
                  <a:lnTo>
                    <a:pt x="1480" y="998"/>
                  </a:lnTo>
                  <a:lnTo>
                    <a:pt x="1472" y="1006"/>
                  </a:lnTo>
                  <a:lnTo>
                    <a:pt x="1472" y="980"/>
                  </a:lnTo>
                  <a:lnTo>
                    <a:pt x="1472" y="960"/>
                  </a:lnTo>
                  <a:lnTo>
                    <a:pt x="1472" y="937"/>
                  </a:lnTo>
                  <a:lnTo>
                    <a:pt x="1472" y="928"/>
                  </a:lnTo>
                  <a:lnTo>
                    <a:pt x="1472" y="927"/>
                  </a:lnTo>
                  <a:lnTo>
                    <a:pt x="1479" y="935"/>
                  </a:lnTo>
                  <a:lnTo>
                    <a:pt x="1431" y="925"/>
                  </a:lnTo>
                  <a:lnTo>
                    <a:pt x="1395" y="918"/>
                  </a:lnTo>
                  <a:lnTo>
                    <a:pt x="1369" y="913"/>
                  </a:lnTo>
                  <a:lnTo>
                    <a:pt x="1351" y="910"/>
                  </a:lnTo>
                  <a:lnTo>
                    <a:pt x="1341" y="908"/>
                  </a:lnTo>
                  <a:lnTo>
                    <a:pt x="1334" y="906"/>
                  </a:lnTo>
                  <a:lnTo>
                    <a:pt x="1336" y="906"/>
                  </a:lnTo>
                  <a:lnTo>
                    <a:pt x="1334" y="906"/>
                  </a:lnTo>
                  <a:cubicBezTo>
                    <a:pt x="1330" y="906"/>
                    <a:pt x="1327" y="903"/>
                    <a:pt x="1326" y="899"/>
                  </a:cubicBezTo>
                  <a:lnTo>
                    <a:pt x="1325" y="869"/>
                  </a:lnTo>
                  <a:lnTo>
                    <a:pt x="1326" y="871"/>
                  </a:lnTo>
                  <a:lnTo>
                    <a:pt x="1317" y="841"/>
                  </a:lnTo>
                  <a:cubicBezTo>
                    <a:pt x="1316" y="838"/>
                    <a:pt x="1317" y="834"/>
                    <a:pt x="1319" y="832"/>
                  </a:cubicBezTo>
                  <a:lnTo>
                    <a:pt x="1355" y="803"/>
                  </a:lnTo>
                  <a:lnTo>
                    <a:pt x="1381" y="781"/>
                  </a:lnTo>
                  <a:lnTo>
                    <a:pt x="1401" y="765"/>
                  </a:lnTo>
                  <a:lnTo>
                    <a:pt x="1414" y="754"/>
                  </a:lnTo>
                  <a:lnTo>
                    <a:pt x="1425" y="745"/>
                  </a:lnTo>
                  <a:cubicBezTo>
                    <a:pt x="1426" y="744"/>
                    <a:pt x="1426" y="744"/>
                    <a:pt x="1427" y="743"/>
                  </a:cubicBezTo>
                  <a:lnTo>
                    <a:pt x="1429" y="742"/>
                  </a:lnTo>
                  <a:lnTo>
                    <a:pt x="1425" y="753"/>
                  </a:lnTo>
                  <a:lnTo>
                    <a:pt x="1412" y="727"/>
                  </a:lnTo>
                  <a:lnTo>
                    <a:pt x="1402" y="707"/>
                  </a:lnTo>
                  <a:lnTo>
                    <a:pt x="1391" y="684"/>
                  </a:lnTo>
                  <a:lnTo>
                    <a:pt x="1387" y="675"/>
                  </a:lnTo>
                  <a:lnTo>
                    <a:pt x="1389" y="677"/>
                  </a:lnTo>
                  <a:lnTo>
                    <a:pt x="1388" y="676"/>
                  </a:lnTo>
                  <a:lnTo>
                    <a:pt x="1396" y="678"/>
                  </a:lnTo>
                  <a:lnTo>
                    <a:pt x="1351" y="695"/>
                  </a:lnTo>
                  <a:lnTo>
                    <a:pt x="1317" y="707"/>
                  </a:lnTo>
                  <a:lnTo>
                    <a:pt x="1292" y="716"/>
                  </a:lnTo>
                  <a:lnTo>
                    <a:pt x="1276" y="722"/>
                  </a:lnTo>
                  <a:lnTo>
                    <a:pt x="1266" y="725"/>
                  </a:lnTo>
                  <a:lnTo>
                    <a:pt x="1261" y="727"/>
                  </a:lnTo>
                  <a:lnTo>
                    <a:pt x="1260" y="728"/>
                  </a:lnTo>
                  <a:cubicBezTo>
                    <a:pt x="1257" y="729"/>
                    <a:pt x="1253" y="729"/>
                    <a:pt x="1251" y="726"/>
                  </a:cubicBezTo>
                  <a:lnTo>
                    <a:pt x="1232" y="706"/>
                  </a:lnTo>
                  <a:lnTo>
                    <a:pt x="1212" y="686"/>
                  </a:lnTo>
                  <a:cubicBezTo>
                    <a:pt x="1210" y="684"/>
                    <a:pt x="1209" y="681"/>
                    <a:pt x="1210" y="678"/>
                  </a:cubicBezTo>
                  <a:lnTo>
                    <a:pt x="1226" y="632"/>
                  </a:lnTo>
                  <a:lnTo>
                    <a:pt x="1238" y="598"/>
                  </a:lnTo>
                  <a:lnTo>
                    <a:pt x="1247" y="574"/>
                  </a:lnTo>
                  <a:lnTo>
                    <a:pt x="1253" y="557"/>
                  </a:lnTo>
                  <a:lnTo>
                    <a:pt x="1256" y="547"/>
                  </a:lnTo>
                  <a:lnTo>
                    <a:pt x="1258" y="541"/>
                  </a:lnTo>
                  <a:lnTo>
                    <a:pt x="1259" y="539"/>
                  </a:lnTo>
                  <a:lnTo>
                    <a:pt x="1262" y="549"/>
                  </a:lnTo>
                  <a:lnTo>
                    <a:pt x="1240" y="536"/>
                  </a:lnTo>
                  <a:lnTo>
                    <a:pt x="1223" y="526"/>
                  </a:lnTo>
                  <a:lnTo>
                    <a:pt x="1203" y="514"/>
                  </a:lnTo>
                  <a:lnTo>
                    <a:pt x="1196" y="511"/>
                  </a:lnTo>
                  <a:cubicBezTo>
                    <a:pt x="1195" y="510"/>
                    <a:pt x="1194" y="510"/>
                    <a:pt x="1194" y="509"/>
                  </a:cubicBezTo>
                  <a:lnTo>
                    <a:pt x="1193" y="508"/>
                  </a:lnTo>
                  <a:lnTo>
                    <a:pt x="1204" y="508"/>
                  </a:lnTo>
                  <a:lnTo>
                    <a:pt x="1172" y="544"/>
                  </a:lnTo>
                  <a:lnTo>
                    <a:pt x="1147" y="571"/>
                  </a:lnTo>
                  <a:lnTo>
                    <a:pt x="1130" y="590"/>
                  </a:lnTo>
                  <a:lnTo>
                    <a:pt x="1118" y="603"/>
                  </a:lnTo>
                  <a:lnTo>
                    <a:pt x="1109" y="615"/>
                  </a:lnTo>
                  <a:lnTo>
                    <a:pt x="1106" y="617"/>
                  </a:lnTo>
                  <a:cubicBezTo>
                    <a:pt x="1104" y="619"/>
                    <a:pt x="1102" y="620"/>
                    <a:pt x="1099" y="619"/>
                  </a:cubicBezTo>
                  <a:lnTo>
                    <a:pt x="1070" y="614"/>
                  </a:lnTo>
                  <a:lnTo>
                    <a:pt x="1041" y="609"/>
                  </a:lnTo>
                  <a:cubicBezTo>
                    <a:pt x="1038" y="609"/>
                    <a:pt x="1035" y="606"/>
                    <a:pt x="1035" y="603"/>
                  </a:cubicBezTo>
                  <a:lnTo>
                    <a:pt x="1028" y="554"/>
                  </a:lnTo>
                  <a:lnTo>
                    <a:pt x="1023" y="517"/>
                  </a:lnTo>
                  <a:lnTo>
                    <a:pt x="1020" y="490"/>
                  </a:lnTo>
                  <a:lnTo>
                    <a:pt x="1018" y="473"/>
                  </a:lnTo>
                  <a:lnTo>
                    <a:pt x="1016" y="463"/>
                  </a:lnTo>
                  <a:lnTo>
                    <a:pt x="1015" y="457"/>
                  </a:lnTo>
                  <a:cubicBezTo>
                    <a:pt x="1014" y="456"/>
                    <a:pt x="1014" y="456"/>
                    <a:pt x="1014" y="455"/>
                  </a:cubicBezTo>
                  <a:lnTo>
                    <a:pt x="1014" y="453"/>
                  </a:lnTo>
                  <a:lnTo>
                    <a:pt x="1022" y="461"/>
                  </a:lnTo>
                  <a:lnTo>
                    <a:pt x="993" y="461"/>
                  </a:lnTo>
                  <a:lnTo>
                    <a:pt x="972" y="461"/>
                  </a:lnTo>
                  <a:lnTo>
                    <a:pt x="956" y="461"/>
                  </a:lnTo>
                  <a:lnTo>
                    <a:pt x="946" y="461"/>
                  </a:lnTo>
                  <a:lnTo>
                    <a:pt x="936" y="461"/>
                  </a:lnTo>
                  <a:lnTo>
                    <a:pt x="935" y="461"/>
                  </a:lnTo>
                  <a:lnTo>
                    <a:pt x="943" y="455"/>
                  </a:lnTo>
                  <a:lnTo>
                    <a:pt x="936" y="504"/>
                  </a:lnTo>
                  <a:lnTo>
                    <a:pt x="931" y="541"/>
                  </a:lnTo>
                  <a:lnTo>
                    <a:pt x="928" y="566"/>
                  </a:lnTo>
                  <a:lnTo>
                    <a:pt x="926" y="584"/>
                  </a:lnTo>
                  <a:lnTo>
                    <a:pt x="924" y="595"/>
                  </a:lnTo>
                  <a:lnTo>
                    <a:pt x="923" y="601"/>
                  </a:lnTo>
                  <a:lnTo>
                    <a:pt x="923" y="599"/>
                  </a:lnTo>
                  <a:lnTo>
                    <a:pt x="923" y="601"/>
                  </a:lnTo>
                  <a:cubicBezTo>
                    <a:pt x="923" y="605"/>
                    <a:pt x="921" y="609"/>
                    <a:pt x="917" y="609"/>
                  </a:cubicBezTo>
                  <a:lnTo>
                    <a:pt x="888" y="614"/>
                  </a:lnTo>
                  <a:lnTo>
                    <a:pt x="859" y="619"/>
                  </a:lnTo>
                  <a:cubicBezTo>
                    <a:pt x="854" y="620"/>
                    <a:pt x="850" y="617"/>
                    <a:pt x="850" y="613"/>
                  </a:cubicBezTo>
                  <a:cubicBezTo>
                    <a:pt x="849" y="608"/>
                    <a:pt x="852" y="604"/>
                    <a:pt x="856" y="604"/>
                  </a:cubicBezTo>
                  <a:lnTo>
                    <a:pt x="885" y="599"/>
                  </a:lnTo>
                  <a:lnTo>
                    <a:pt x="914" y="594"/>
                  </a:lnTo>
                  <a:lnTo>
                    <a:pt x="907" y="601"/>
                  </a:lnTo>
                  <a:lnTo>
                    <a:pt x="907" y="599"/>
                  </a:lnTo>
                  <a:cubicBezTo>
                    <a:pt x="907" y="599"/>
                    <a:pt x="907" y="599"/>
                    <a:pt x="908" y="598"/>
                  </a:cubicBezTo>
                  <a:lnTo>
                    <a:pt x="909" y="592"/>
                  </a:lnTo>
                  <a:lnTo>
                    <a:pt x="911" y="583"/>
                  </a:lnTo>
                  <a:lnTo>
                    <a:pt x="913" y="565"/>
                  </a:lnTo>
                  <a:lnTo>
                    <a:pt x="916" y="538"/>
                  </a:lnTo>
                  <a:lnTo>
                    <a:pt x="921" y="501"/>
                  </a:lnTo>
                  <a:lnTo>
                    <a:pt x="928" y="452"/>
                  </a:lnTo>
                  <a:cubicBezTo>
                    <a:pt x="928" y="448"/>
                    <a:pt x="931" y="445"/>
                    <a:pt x="935" y="445"/>
                  </a:cubicBezTo>
                  <a:lnTo>
                    <a:pt x="936" y="445"/>
                  </a:lnTo>
                  <a:lnTo>
                    <a:pt x="946" y="445"/>
                  </a:lnTo>
                  <a:lnTo>
                    <a:pt x="956" y="445"/>
                  </a:lnTo>
                  <a:lnTo>
                    <a:pt x="972" y="445"/>
                  </a:lnTo>
                  <a:lnTo>
                    <a:pt x="993" y="445"/>
                  </a:lnTo>
                  <a:lnTo>
                    <a:pt x="1022" y="445"/>
                  </a:lnTo>
                  <a:cubicBezTo>
                    <a:pt x="1027" y="445"/>
                    <a:pt x="1030" y="449"/>
                    <a:pt x="1030" y="453"/>
                  </a:cubicBezTo>
                  <a:lnTo>
                    <a:pt x="1030" y="455"/>
                  </a:lnTo>
                  <a:lnTo>
                    <a:pt x="1030" y="454"/>
                  </a:lnTo>
                  <a:lnTo>
                    <a:pt x="1031" y="460"/>
                  </a:lnTo>
                  <a:lnTo>
                    <a:pt x="1033" y="472"/>
                  </a:lnTo>
                  <a:lnTo>
                    <a:pt x="1035" y="489"/>
                  </a:lnTo>
                  <a:lnTo>
                    <a:pt x="1038" y="514"/>
                  </a:lnTo>
                  <a:lnTo>
                    <a:pt x="1043" y="551"/>
                  </a:lnTo>
                  <a:lnTo>
                    <a:pt x="1050" y="600"/>
                  </a:lnTo>
                  <a:lnTo>
                    <a:pt x="1044" y="594"/>
                  </a:lnTo>
                  <a:lnTo>
                    <a:pt x="1073" y="599"/>
                  </a:lnTo>
                  <a:lnTo>
                    <a:pt x="1102" y="604"/>
                  </a:lnTo>
                  <a:lnTo>
                    <a:pt x="1095" y="606"/>
                  </a:lnTo>
                  <a:lnTo>
                    <a:pt x="1096" y="604"/>
                  </a:lnTo>
                  <a:lnTo>
                    <a:pt x="1107" y="592"/>
                  </a:lnTo>
                  <a:lnTo>
                    <a:pt x="1118" y="579"/>
                  </a:lnTo>
                  <a:lnTo>
                    <a:pt x="1136" y="560"/>
                  </a:lnTo>
                  <a:lnTo>
                    <a:pt x="1160" y="533"/>
                  </a:lnTo>
                  <a:lnTo>
                    <a:pt x="1192" y="497"/>
                  </a:lnTo>
                  <a:cubicBezTo>
                    <a:pt x="1194" y="495"/>
                    <a:pt x="1196" y="495"/>
                    <a:pt x="1198" y="494"/>
                  </a:cubicBezTo>
                  <a:cubicBezTo>
                    <a:pt x="1200" y="494"/>
                    <a:pt x="1203" y="495"/>
                    <a:pt x="1204" y="497"/>
                  </a:cubicBezTo>
                  <a:lnTo>
                    <a:pt x="1205" y="498"/>
                  </a:lnTo>
                  <a:lnTo>
                    <a:pt x="1203" y="496"/>
                  </a:lnTo>
                  <a:lnTo>
                    <a:pt x="1212" y="501"/>
                  </a:lnTo>
                  <a:lnTo>
                    <a:pt x="1232" y="513"/>
                  </a:lnTo>
                  <a:lnTo>
                    <a:pt x="1249" y="523"/>
                  </a:lnTo>
                  <a:lnTo>
                    <a:pt x="1271" y="536"/>
                  </a:lnTo>
                  <a:cubicBezTo>
                    <a:pt x="1274" y="538"/>
                    <a:pt x="1276" y="542"/>
                    <a:pt x="1274" y="546"/>
                  </a:cubicBezTo>
                  <a:lnTo>
                    <a:pt x="1273" y="547"/>
                  </a:lnTo>
                  <a:lnTo>
                    <a:pt x="1271" y="552"/>
                  </a:lnTo>
                  <a:lnTo>
                    <a:pt x="1268" y="562"/>
                  </a:lnTo>
                  <a:lnTo>
                    <a:pt x="1262" y="579"/>
                  </a:lnTo>
                  <a:lnTo>
                    <a:pt x="1253" y="603"/>
                  </a:lnTo>
                  <a:lnTo>
                    <a:pt x="1241" y="637"/>
                  </a:lnTo>
                  <a:lnTo>
                    <a:pt x="1225" y="683"/>
                  </a:lnTo>
                  <a:lnTo>
                    <a:pt x="1223" y="675"/>
                  </a:lnTo>
                  <a:lnTo>
                    <a:pt x="1243" y="695"/>
                  </a:lnTo>
                  <a:lnTo>
                    <a:pt x="1262" y="715"/>
                  </a:lnTo>
                  <a:lnTo>
                    <a:pt x="1253" y="713"/>
                  </a:lnTo>
                  <a:lnTo>
                    <a:pt x="1255" y="712"/>
                  </a:lnTo>
                  <a:lnTo>
                    <a:pt x="1261" y="710"/>
                  </a:lnTo>
                  <a:lnTo>
                    <a:pt x="1271" y="707"/>
                  </a:lnTo>
                  <a:lnTo>
                    <a:pt x="1287" y="701"/>
                  </a:lnTo>
                  <a:lnTo>
                    <a:pt x="1312" y="692"/>
                  </a:lnTo>
                  <a:lnTo>
                    <a:pt x="1346" y="680"/>
                  </a:lnTo>
                  <a:lnTo>
                    <a:pt x="1391" y="663"/>
                  </a:lnTo>
                  <a:cubicBezTo>
                    <a:pt x="1394" y="662"/>
                    <a:pt x="1397" y="663"/>
                    <a:pt x="1399" y="665"/>
                  </a:cubicBezTo>
                  <a:lnTo>
                    <a:pt x="1400" y="666"/>
                  </a:lnTo>
                  <a:cubicBezTo>
                    <a:pt x="1401" y="666"/>
                    <a:pt x="1401" y="667"/>
                    <a:pt x="1402" y="668"/>
                  </a:cubicBezTo>
                  <a:lnTo>
                    <a:pt x="1406" y="677"/>
                  </a:lnTo>
                  <a:lnTo>
                    <a:pt x="1417" y="700"/>
                  </a:lnTo>
                  <a:lnTo>
                    <a:pt x="1427" y="720"/>
                  </a:lnTo>
                  <a:lnTo>
                    <a:pt x="1440" y="746"/>
                  </a:lnTo>
                  <a:cubicBezTo>
                    <a:pt x="1442" y="750"/>
                    <a:pt x="1440" y="755"/>
                    <a:pt x="1436" y="757"/>
                  </a:cubicBezTo>
                  <a:lnTo>
                    <a:pt x="1434" y="758"/>
                  </a:lnTo>
                  <a:lnTo>
                    <a:pt x="1436" y="756"/>
                  </a:lnTo>
                  <a:lnTo>
                    <a:pt x="1425" y="767"/>
                  </a:lnTo>
                  <a:lnTo>
                    <a:pt x="1411" y="778"/>
                  </a:lnTo>
                  <a:lnTo>
                    <a:pt x="1392" y="794"/>
                  </a:lnTo>
                  <a:lnTo>
                    <a:pt x="1365" y="816"/>
                  </a:lnTo>
                  <a:lnTo>
                    <a:pt x="1329" y="845"/>
                  </a:lnTo>
                  <a:lnTo>
                    <a:pt x="1332" y="836"/>
                  </a:lnTo>
                  <a:lnTo>
                    <a:pt x="1341" y="866"/>
                  </a:lnTo>
                  <a:cubicBezTo>
                    <a:pt x="1341" y="867"/>
                    <a:pt x="1341" y="868"/>
                    <a:pt x="1341" y="868"/>
                  </a:cubicBezTo>
                  <a:lnTo>
                    <a:pt x="1342" y="898"/>
                  </a:lnTo>
                  <a:lnTo>
                    <a:pt x="1334" y="890"/>
                  </a:lnTo>
                  <a:lnTo>
                    <a:pt x="1336" y="890"/>
                  </a:lnTo>
                  <a:cubicBezTo>
                    <a:pt x="1337" y="890"/>
                    <a:pt x="1338" y="891"/>
                    <a:pt x="1339" y="891"/>
                  </a:cubicBezTo>
                  <a:lnTo>
                    <a:pt x="1344" y="893"/>
                  </a:lnTo>
                  <a:lnTo>
                    <a:pt x="1354" y="895"/>
                  </a:lnTo>
                  <a:lnTo>
                    <a:pt x="1372" y="898"/>
                  </a:lnTo>
                  <a:lnTo>
                    <a:pt x="1398" y="903"/>
                  </a:lnTo>
                  <a:lnTo>
                    <a:pt x="1434" y="910"/>
                  </a:lnTo>
                  <a:lnTo>
                    <a:pt x="1482" y="920"/>
                  </a:lnTo>
                  <a:cubicBezTo>
                    <a:pt x="1486" y="920"/>
                    <a:pt x="1488" y="924"/>
                    <a:pt x="1488" y="927"/>
                  </a:cubicBezTo>
                  <a:lnTo>
                    <a:pt x="1488" y="928"/>
                  </a:lnTo>
                  <a:lnTo>
                    <a:pt x="1488" y="937"/>
                  </a:lnTo>
                  <a:lnTo>
                    <a:pt x="1488" y="960"/>
                  </a:lnTo>
                  <a:lnTo>
                    <a:pt x="1488" y="980"/>
                  </a:lnTo>
                  <a:lnTo>
                    <a:pt x="1488" y="1006"/>
                  </a:lnTo>
                  <a:cubicBezTo>
                    <a:pt x="1488" y="1011"/>
                    <a:pt x="1485" y="1014"/>
                    <a:pt x="1480" y="1014"/>
                  </a:cubicBezTo>
                  <a:lnTo>
                    <a:pt x="1478" y="1014"/>
                  </a:lnTo>
                  <a:lnTo>
                    <a:pt x="1481" y="1014"/>
                  </a:lnTo>
                  <a:lnTo>
                    <a:pt x="1474" y="1016"/>
                  </a:lnTo>
                  <a:lnTo>
                    <a:pt x="1464" y="1018"/>
                  </a:lnTo>
                  <a:lnTo>
                    <a:pt x="1446" y="1021"/>
                  </a:lnTo>
                  <a:lnTo>
                    <a:pt x="1420" y="1027"/>
                  </a:lnTo>
                  <a:lnTo>
                    <a:pt x="1384" y="1034"/>
                  </a:lnTo>
                  <a:lnTo>
                    <a:pt x="1336" y="1044"/>
                  </a:lnTo>
                  <a:lnTo>
                    <a:pt x="1342" y="1037"/>
                  </a:lnTo>
                  <a:lnTo>
                    <a:pt x="1341" y="1067"/>
                  </a:lnTo>
                  <a:cubicBezTo>
                    <a:pt x="1341" y="1067"/>
                    <a:pt x="1341" y="1068"/>
                    <a:pt x="1341" y="1069"/>
                  </a:cubicBezTo>
                  <a:lnTo>
                    <a:pt x="1332" y="1098"/>
                  </a:lnTo>
                  <a:lnTo>
                    <a:pt x="1328" y="1088"/>
                  </a:lnTo>
                  <a:lnTo>
                    <a:pt x="1330" y="1089"/>
                  </a:lnTo>
                  <a:cubicBezTo>
                    <a:pt x="1331" y="1090"/>
                    <a:pt x="1331" y="1090"/>
                    <a:pt x="1332" y="1090"/>
                  </a:cubicBezTo>
                  <a:lnTo>
                    <a:pt x="1344" y="1101"/>
                  </a:lnTo>
                  <a:lnTo>
                    <a:pt x="1355" y="1111"/>
                  </a:lnTo>
                  <a:lnTo>
                    <a:pt x="1376" y="1127"/>
                  </a:lnTo>
                  <a:lnTo>
                    <a:pt x="1401" y="1149"/>
                  </a:lnTo>
                  <a:lnTo>
                    <a:pt x="1437" y="1178"/>
                  </a:lnTo>
                  <a:cubicBezTo>
                    <a:pt x="1439" y="1180"/>
                    <a:pt x="1440" y="1182"/>
                    <a:pt x="1440" y="1184"/>
                  </a:cubicBezTo>
                  <a:cubicBezTo>
                    <a:pt x="1441" y="1186"/>
                    <a:pt x="1440" y="1189"/>
                    <a:pt x="1438" y="1190"/>
                  </a:cubicBezTo>
                  <a:lnTo>
                    <a:pt x="1437" y="1191"/>
                  </a:lnTo>
                  <a:lnTo>
                    <a:pt x="1439" y="1189"/>
                  </a:lnTo>
                  <a:lnTo>
                    <a:pt x="1434" y="1197"/>
                  </a:lnTo>
                  <a:lnTo>
                    <a:pt x="1423" y="1218"/>
                  </a:lnTo>
                  <a:lnTo>
                    <a:pt x="1413" y="1234"/>
                  </a:lnTo>
                  <a:lnTo>
                    <a:pt x="1400" y="1257"/>
                  </a:lnTo>
                  <a:cubicBezTo>
                    <a:pt x="1398" y="1261"/>
                    <a:pt x="1394" y="1263"/>
                    <a:pt x="1390" y="1261"/>
                  </a:cubicBezTo>
                  <a:lnTo>
                    <a:pt x="1388" y="1260"/>
                  </a:lnTo>
                  <a:lnTo>
                    <a:pt x="1384" y="1258"/>
                  </a:lnTo>
                  <a:lnTo>
                    <a:pt x="1374" y="1255"/>
                  </a:lnTo>
                  <a:lnTo>
                    <a:pt x="1358" y="1249"/>
                  </a:lnTo>
                  <a:lnTo>
                    <a:pt x="1333" y="1240"/>
                  </a:lnTo>
                  <a:lnTo>
                    <a:pt x="1299" y="1228"/>
                  </a:lnTo>
                  <a:lnTo>
                    <a:pt x="1254" y="1212"/>
                  </a:lnTo>
                  <a:lnTo>
                    <a:pt x="1263" y="1209"/>
                  </a:lnTo>
                  <a:lnTo>
                    <a:pt x="1244" y="1235"/>
                  </a:lnTo>
                  <a:lnTo>
                    <a:pt x="1224" y="1259"/>
                  </a:lnTo>
                  <a:lnTo>
                    <a:pt x="1225" y="1250"/>
                  </a:lnTo>
                  <a:lnTo>
                    <a:pt x="1226" y="1252"/>
                  </a:lnTo>
                  <a:lnTo>
                    <a:pt x="1228" y="1258"/>
                  </a:lnTo>
                  <a:lnTo>
                    <a:pt x="1231" y="1268"/>
                  </a:lnTo>
                  <a:lnTo>
                    <a:pt x="1237" y="1285"/>
                  </a:lnTo>
                  <a:lnTo>
                    <a:pt x="1246" y="1310"/>
                  </a:lnTo>
                  <a:lnTo>
                    <a:pt x="1258" y="1344"/>
                  </a:lnTo>
                  <a:lnTo>
                    <a:pt x="1274" y="1390"/>
                  </a:lnTo>
                  <a:cubicBezTo>
                    <a:pt x="1275" y="1393"/>
                    <a:pt x="1274" y="1396"/>
                    <a:pt x="1272" y="1398"/>
                  </a:cubicBezTo>
                  <a:lnTo>
                    <a:pt x="1271" y="1399"/>
                  </a:lnTo>
                  <a:cubicBezTo>
                    <a:pt x="1271" y="1400"/>
                    <a:pt x="1270" y="1400"/>
                    <a:pt x="1269" y="1400"/>
                  </a:cubicBezTo>
                  <a:lnTo>
                    <a:pt x="1262" y="1405"/>
                  </a:lnTo>
                  <a:lnTo>
                    <a:pt x="1242" y="1415"/>
                  </a:lnTo>
                  <a:lnTo>
                    <a:pt x="1225" y="1425"/>
                  </a:lnTo>
                  <a:lnTo>
                    <a:pt x="1203" y="1438"/>
                  </a:lnTo>
                  <a:cubicBezTo>
                    <a:pt x="1199" y="1440"/>
                    <a:pt x="1195" y="1440"/>
                    <a:pt x="1193" y="1437"/>
                  </a:cubicBezTo>
                  <a:lnTo>
                    <a:pt x="1190" y="1434"/>
                  </a:lnTo>
                  <a:lnTo>
                    <a:pt x="1180" y="1422"/>
                  </a:lnTo>
                  <a:lnTo>
                    <a:pt x="1168" y="1408"/>
                  </a:lnTo>
                  <a:lnTo>
                    <a:pt x="1151" y="1387"/>
                  </a:lnTo>
                  <a:lnTo>
                    <a:pt x="1126" y="1358"/>
                  </a:lnTo>
                  <a:lnTo>
                    <a:pt x="1094" y="1319"/>
                  </a:lnTo>
                  <a:lnTo>
                    <a:pt x="1104" y="1321"/>
                  </a:lnTo>
                  <a:lnTo>
                    <a:pt x="1075" y="1334"/>
                  </a:lnTo>
                  <a:cubicBezTo>
                    <a:pt x="1074" y="1334"/>
                    <a:pt x="1074" y="1334"/>
                    <a:pt x="1073" y="1334"/>
                  </a:cubicBezTo>
                  <a:lnTo>
                    <a:pt x="1044" y="1340"/>
                  </a:lnTo>
                  <a:lnTo>
                    <a:pt x="1050" y="1332"/>
                  </a:lnTo>
                  <a:lnTo>
                    <a:pt x="1050" y="1334"/>
                  </a:lnTo>
                  <a:cubicBezTo>
                    <a:pt x="1050" y="1335"/>
                    <a:pt x="1050" y="1335"/>
                    <a:pt x="1050" y="1336"/>
                  </a:cubicBezTo>
                  <a:lnTo>
                    <a:pt x="1049" y="1341"/>
                  </a:lnTo>
                  <a:lnTo>
                    <a:pt x="1048" y="1353"/>
                  </a:lnTo>
                  <a:lnTo>
                    <a:pt x="1045" y="1369"/>
                  </a:lnTo>
                  <a:lnTo>
                    <a:pt x="1042" y="1396"/>
                  </a:lnTo>
                  <a:lnTo>
                    <a:pt x="1037" y="1433"/>
                  </a:lnTo>
                  <a:lnTo>
                    <a:pt x="1030" y="1482"/>
                  </a:lnTo>
                  <a:cubicBezTo>
                    <a:pt x="1030" y="1486"/>
                    <a:pt x="1026" y="1488"/>
                    <a:pt x="1022" y="1488"/>
                  </a:cubicBezTo>
                  <a:lnTo>
                    <a:pt x="1021" y="1488"/>
                  </a:lnTo>
                  <a:lnTo>
                    <a:pt x="1011" y="1488"/>
                  </a:lnTo>
                  <a:lnTo>
                    <a:pt x="1001" y="1488"/>
                  </a:lnTo>
                  <a:lnTo>
                    <a:pt x="985" y="1488"/>
                  </a:lnTo>
                  <a:lnTo>
                    <a:pt x="964" y="1488"/>
                  </a:lnTo>
                  <a:lnTo>
                    <a:pt x="935" y="1488"/>
                  </a:lnTo>
                  <a:cubicBezTo>
                    <a:pt x="931" y="1488"/>
                    <a:pt x="927" y="1485"/>
                    <a:pt x="927" y="1480"/>
                  </a:cubicBezTo>
                  <a:lnTo>
                    <a:pt x="927" y="1478"/>
                  </a:lnTo>
                  <a:lnTo>
                    <a:pt x="928" y="1480"/>
                  </a:lnTo>
                  <a:lnTo>
                    <a:pt x="926" y="1473"/>
                  </a:lnTo>
                  <a:lnTo>
                    <a:pt x="926" y="1464"/>
                  </a:lnTo>
                  <a:lnTo>
                    <a:pt x="923" y="1445"/>
                  </a:lnTo>
                  <a:lnTo>
                    <a:pt x="920" y="1420"/>
                  </a:lnTo>
                  <a:lnTo>
                    <a:pt x="915" y="1383"/>
                  </a:lnTo>
                  <a:lnTo>
                    <a:pt x="908" y="1334"/>
                  </a:lnTo>
                  <a:lnTo>
                    <a:pt x="914" y="1340"/>
                  </a:lnTo>
                  <a:lnTo>
                    <a:pt x="885" y="1334"/>
                  </a:lnTo>
                  <a:cubicBezTo>
                    <a:pt x="884" y="1334"/>
                    <a:pt x="884" y="1334"/>
                    <a:pt x="883" y="1334"/>
                  </a:cubicBezTo>
                  <a:lnTo>
                    <a:pt x="854" y="1321"/>
                  </a:lnTo>
                  <a:lnTo>
                    <a:pt x="863" y="1319"/>
                  </a:lnTo>
                  <a:lnTo>
                    <a:pt x="862" y="1320"/>
                  </a:lnTo>
                  <a:lnTo>
                    <a:pt x="852" y="1334"/>
                  </a:lnTo>
                  <a:lnTo>
                    <a:pt x="840" y="1348"/>
                  </a:lnTo>
                  <a:lnTo>
                    <a:pt x="823" y="1369"/>
                  </a:lnTo>
                  <a:lnTo>
                    <a:pt x="798" y="1398"/>
                  </a:lnTo>
                  <a:lnTo>
                    <a:pt x="766" y="1437"/>
                  </a:lnTo>
                  <a:cubicBezTo>
                    <a:pt x="764" y="1438"/>
                    <a:pt x="762" y="1439"/>
                    <a:pt x="760" y="1439"/>
                  </a:cubicBezTo>
                  <a:cubicBezTo>
                    <a:pt x="758" y="1440"/>
                    <a:pt x="755" y="1439"/>
                    <a:pt x="754" y="1437"/>
                  </a:cubicBezTo>
                  <a:lnTo>
                    <a:pt x="753" y="1436"/>
                  </a:lnTo>
                  <a:lnTo>
                    <a:pt x="754" y="1437"/>
                  </a:lnTo>
                  <a:lnTo>
                    <a:pt x="748" y="1434"/>
                  </a:lnTo>
                  <a:lnTo>
                    <a:pt x="726" y="1422"/>
                  </a:lnTo>
                  <a:lnTo>
                    <a:pt x="709" y="1412"/>
                  </a:lnTo>
                  <a:lnTo>
                    <a:pt x="687" y="1399"/>
                  </a:lnTo>
                  <a:cubicBezTo>
                    <a:pt x="684" y="1397"/>
                    <a:pt x="682" y="1393"/>
                    <a:pt x="684" y="1389"/>
                  </a:cubicBezTo>
                  <a:lnTo>
                    <a:pt x="685" y="1387"/>
                  </a:lnTo>
                  <a:lnTo>
                    <a:pt x="687" y="1383"/>
                  </a:lnTo>
                  <a:lnTo>
                    <a:pt x="690" y="1373"/>
                  </a:lnTo>
                  <a:lnTo>
                    <a:pt x="696" y="1356"/>
                  </a:lnTo>
                  <a:lnTo>
                    <a:pt x="705" y="1331"/>
                  </a:lnTo>
                  <a:lnTo>
                    <a:pt x="717" y="1297"/>
                  </a:lnTo>
                  <a:lnTo>
                    <a:pt x="733" y="1251"/>
                  </a:lnTo>
                  <a:lnTo>
                    <a:pt x="735" y="1259"/>
                  </a:lnTo>
                  <a:lnTo>
                    <a:pt x="711" y="1235"/>
                  </a:lnTo>
                  <a:cubicBezTo>
                    <a:pt x="710" y="1235"/>
                    <a:pt x="710" y="1234"/>
                    <a:pt x="710" y="1234"/>
                  </a:cubicBezTo>
                  <a:lnTo>
                    <a:pt x="695" y="1209"/>
                  </a:lnTo>
                  <a:lnTo>
                    <a:pt x="705" y="1212"/>
                  </a:lnTo>
                  <a:lnTo>
                    <a:pt x="703" y="1213"/>
                  </a:lnTo>
                  <a:cubicBezTo>
                    <a:pt x="703" y="1213"/>
                    <a:pt x="702" y="1213"/>
                    <a:pt x="702" y="1213"/>
                  </a:cubicBezTo>
                  <a:lnTo>
                    <a:pt x="696" y="1215"/>
                  </a:lnTo>
                  <a:lnTo>
                    <a:pt x="686" y="1218"/>
                  </a:lnTo>
                  <a:lnTo>
                    <a:pt x="668" y="1224"/>
                  </a:lnTo>
                  <a:lnTo>
                    <a:pt x="642" y="1233"/>
                  </a:lnTo>
                  <a:lnTo>
                    <a:pt x="606" y="1245"/>
                  </a:lnTo>
                  <a:lnTo>
                    <a:pt x="557" y="1261"/>
                  </a:lnTo>
                  <a:cubicBezTo>
                    <a:pt x="554" y="1262"/>
                    <a:pt x="551" y="1261"/>
                    <a:pt x="549" y="1259"/>
                  </a:cubicBezTo>
                  <a:lnTo>
                    <a:pt x="548" y="1258"/>
                  </a:lnTo>
                  <a:cubicBezTo>
                    <a:pt x="547" y="1258"/>
                    <a:pt x="547" y="1257"/>
                    <a:pt x="546" y="1256"/>
                  </a:cubicBezTo>
                  <a:lnTo>
                    <a:pt x="542" y="1248"/>
                  </a:lnTo>
                  <a:lnTo>
                    <a:pt x="532" y="1229"/>
                  </a:lnTo>
                  <a:lnTo>
                    <a:pt x="521" y="1211"/>
                  </a:lnTo>
                  <a:lnTo>
                    <a:pt x="508" y="1188"/>
                  </a:lnTo>
                  <a:cubicBezTo>
                    <a:pt x="507" y="1186"/>
                    <a:pt x="507" y="1184"/>
                    <a:pt x="508" y="1182"/>
                  </a:cubicBezTo>
                  <a:cubicBezTo>
                    <a:pt x="508" y="1180"/>
                    <a:pt x="510" y="1178"/>
                    <a:pt x="512" y="1177"/>
                  </a:cubicBezTo>
                  <a:lnTo>
                    <a:pt x="514" y="1176"/>
                  </a:lnTo>
                  <a:lnTo>
                    <a:pt x="513" y="1177"/>
                  </a:lnTo>
                  <a:lnTo>
                    <a:pt x="526" y="1167"/>
                  </a:lnTo>
                  <a:lnTo>
                    <a:pt x="539" y="1156"/>
                  </a:lnTo>
                  <a:lnTo>
                    <a:pt x="560" y="1140"/>
                  </a:lnTo>
                  <a:lnTo>
                    <a:pt x="589" y="1118"/>
                  </a:lnTo>
                  <a:lnTo>
                    <a:pt x="628" y="1089"/>
                  </a:lnTo>
                  <a:lnTo>
                    <a:pt x="625" y="1098"/>
                  </a:lnTo>
                  <a:lnTo>
                    <a:pt x="616" y="1069"/>
                  </a:lnTo>
                  <a:lnTo>
                    <a:pt x="606" y="1039"/>
                  </a:lnTo>
                  <a:lnTo>
                    <a:pt x="613" y="1044"/>
                  </a:lnTo>
                  <a:lnTo>
                    <a:pt x="611" y="1044"/>
                  </a:lnTo>
                  <a:cubicBezTo>
                    <a:pt x="611" y="1044"/>
                    <a:pt x="610" y="1044"/>
                    <a:pt x="609" y="1044"/>
                  </a:cubicBezTo>
                  <a:lnTo>
                    <a:pt x="604" y="1042"/>
                  </a:lnTo>
                  <a:lnTo>
                    <a:pt x="594" y="1040"/>
                  </a:lnTo>
                  <a:lnTo>
                    <a:pt x="576" y="1037"/>
                  </a:lnTo>
                  <a:lnTo>
                    <a:pt x="550" y="1031"/>
                  </a:lnTo>
                  <a:lnTo>
                    <a:pt x="514" y="1024"/>
                  </a:lnTo>
                  <a:lnTo>
                    <a:pt x="466" y="1014"/>
                  </a:lnTo>
                  <a:cubicBezTo>
                    <a:pt x="462" y="1014"/>
                    <a:pt x="459" y="1010"/>
                    <a:pt x="459" y="1006"/>
                  </a:cubicBezTo>
                  <a:lnTo>
                    <a:pt x="459" y="1005"/>
                  </a:lnTo>
                  <a:lnTo>
                    <a:pt x="459" y="996"/>
                  </a:lnTo>
                  <a:lnTo>
                    <a:pt x="459" y="973"/>
                  </a:lnTo>
                  <a:lnTo>
                    <a:pt x="459" y="953"/>
                  </a:lnTo>
                  <a:lnTo>
                    <a:pt x="459" y="927"/>
                  </a:lnTo>
                  <a:cubicBezTo>
                    <a:pt x="459" y="923"/>
                    <a:pt x="463" y="919"/>
                    <a:pt x="467" y="919"/>
                  </a:cubicBezTo>
                  <a:lnTo>
                    <a:pt x="469" y="919"/>
                  </a:lnTo>
                  <a:lnTo>
                    <a:pt x="467" y="920"/>
                  </a:lnTo>
                  <a:lnTo>
                    <a:pt x="474" y="918"/>
                  </a:lnTo>
                  <a:lnTo>
                    <a:pt x="484" y="916"/>
                  </a:lnTo>
                  <a:lnTo>
                    <a:pt x="502" y="913"/>
                  </a:lnTo>
                  <a:lnTo>
                    <a:pt x="528" y="908"/>
                  </a:lnTo>
                  <a:lnTo>
                    <a:pt x="564" y="901"/>
                  </a:lnTo>
                  <a:lnTo>
                    <a:pt x="612" y="891"/>
                  </a:lnTo>
                  <a:lnTo>
                    <a:pt x="606" y="896"/>
                  </a:lnTo>
                  <a:lnTo>
                    <a:pt x="616" y="866"/>
                  </a:lnTo>
                  <a:lnTo>
                    <a:pt x="625" y="836"/>
                  </a:lnTo>
                  <a:lnTo>
                    <a:pt x="629" y="846"/>
                  </a:lnTo>
                  <a:lnTo>
                    <a:pt x="627" y="845"/>
                  </a:lnTo>
                  <a:cubicBezTo>
                    <a:pt x="626" y="844"/>
                    <a:pt x="626" y="844"/>
                    <a:pt x="626" y="844"/>
                  </a:cubicBezTo>
                  <a:lnTo>
                    <a:pt x="613" y="834"/>
                  </a:lnTo>
                  <a:lnTo>
                    <a:pt x="598" y="823"/>
                  </a:lnTo>
                  <a:lnTo>
                    <a:pt x="579" y="807"/>
                  </a:lnTo>
                  <a:lnTo>
                    <a:pt x="550" y="785"/>
                  </a:lnTo>
                  <a:lnTo>
                    <a:pt x="511" y="756"/>
                  </a:lnTo>
                  <a:cubicBezTo>
                    <a:pt x="509" y="755"/>
                    <a:pt x="508" y="752"/>
                    <a:pt x="507" y="750"/>
                  </a:cubicBezTo>
                  <a:cubicBezTo>
                    <a:pt x="507" y="748"/>
                    <a:pt x="508" y="745"/>
                    <a:pt x="510" y="744"/>
                  </a:cubicBezTo>
                  <a:lnTo>
                    <a:pt x="511" y="743"/>
                  </a:lnTo>
                  <a:lnTo>
                    <a:pt x="509" y="745"/>
                  </a:lnTo>
                  <a:lnTo>
                    <a:pt x="513" y="736"/>
                  </a:lnTo>
                  <a:lnTo>
                    <a:pt x="524" y="713"/>
                  </a:lnTo>
                  <a:lnTo>
                    <a:pt x="534" y="693"/>
                  </a:lnTo>
                  <a:lnTo>
                    <a:pt x="547" y="667"/>
                  </a:lnTo>
                  <a:cubicBezTo>
                    <a:pt x="549" y="663"/>
                    <a:pt x="554" y="661"/>
                    <a:pt x="558" y="663"/>
                  </a:cubicBezTo>
                  <a:lnTo>
                    <a:pt x="560" y="664"/>
                  </a:lnTo>
                  <a:lnTo>
                    <a:pt x="559" y="664"/>
                  </a:lnTo>
                  <a:lnTo>
                    <a:pt x="565" y="666"/>
                  </a:lnTo>
                  <a:lnTo>
                    <a:pt x="575" y="669"/>
                  </a:lnTo>
                  <a:lnTo>
                    <a:pt x="593" y="675"/>
                  </a:lnTo>
                  <a:lnTo>
                    <a:pt x="619" y="684"/>
                  </a:lnTo>
                  <a:lnTo>
                    <a:pt x="655" y="696"/>
                  </a:lnTo>
                  <a:lnTo>
                    <a:pt x="704" y="713"/>
                  </a:lnTo>
                  <a:lnTo>
                    <a:pt x="693" y="720"/>
                  </a:lnTo>
                  <a:lnTo>
                    <a:pt x="693" y="719"/>
                  </a:lnTo>
                  <a:cubicBezTo>
                    <a:pt x="693" y="718"/>
                    <a:pt x="694" y="716"/>
                    <a:pt x="695" y="714"/>
                  </a:cubicBezTo>
                  <a:lnTo>
                    <a:pt x="699" y="709"/>
                  </a:lnTo>
                  <a:lnTo>
                    <a:pt x="698" y="711"/>
                  </a:lnTo>
                  <a:lnTo>
                    <a:pt x="707" y="695"/>
                  </a:lnTo>
                  <a:lnTo>
                    <a:pt x="724" y="666"/>
                  </a:lnTo>
                  <a:lnTo>
                    <a:pt x="723" y="674"/>
                  </a:lnTo>
                  <a:lnTo>
                    <a:pt x="723" y="673"/>
                  </a:lnTo>
                  <a:lnTo>
                    <a:pt x="714" y="659"/>
                  </a:lnTo>
                  <a:lnTo>
                    <a:pt x="705" y="644"/>
                  </a:lnTo>
                  <a:lnTo>
                    <a:pt x="691" y="621"/>
                  </a:lnTo>
                  <a:lnTo>
                    <a:pt x="672" y="589"/>
                  </a:lnTo>
                  <a:lnTo>
                    <a:pt x="646" y="547"/>
                  </a:lnTo>
                  <a:cubicBezTo>
                    <a:pt x="645" y="545"/>
                    <a:pt x="644" y="543"/>
                    <a:pt x="645" y="541"/>
                  </a:cubicBezTo>
                  <a:lnTo>
                    <a:pt x="650" y="520"/>
                  </a:lnTo>
                  <a:lnTo>
                    <a:pt x="655" y="492"/>
                  </a:lnTo>
                  <a:cubicBezTo>
                    <a:pt x="655" y="488"/>
                    <a:pt x="659" y="485"/>
                    <a:pt x="662" y="485"/>
                  </a:cubicBezTo>
                  <a:lnTo>
                    <a:pt x="664" y="485"/>
                  </a:lnTo>
                  <a:lnTo>
                    <a:pt x="663" y="486"/>
                  </a:lnTo>
                  <a:lnTo>
                    <a:pt x="670" y="484"/>
                  </a:lnTo>
                  <a:lnTo>
                    <a:pt x="681" y="484"/>
                  </a:lnTo>
                  <a:lnTo>
                    <a:pt x="700" y="481"/>
                  </a:lnTo>
                  <a:lnTo>
                    <a:pt x="727" y="478"/>
                  </a:lnTo>
                  <a:lnTo>
                    <a:pt x="766" y="473"/>
                  </a:lnTo>
                  <a:lnTo>
                    <a:pt x="817" y="466"/>
                  </a:lnTo>
                  <a:lnTo>
                    <a:pt x="810" y="473"/>
                  </a:lnTo>
                  <a:lnTo>
                    <a:pt x="810" y="472"/>
                  </a:lnTo>
                  <a:lnTo>
                    <a:pt x="810" y="463"/>
                  </a:lnTo>
                  <a:lnTo>
                    <a:pt x="810" y="440"/>
                  </a:lnTo>
                  <a:lnTo>
                    <a:pt x="810" y="420"/>
                  </a:lnTo>
                  <a:lnTo>
                    <a:pt x="810" y="394"/>
                  </a:lnTo>
                  <a:lnTo>
                    <a:pt x="818" y="402"/>
                  </a:lnTo>
                  <a:lnTo>
                    <a:pt x="816" y="402"/>
                  </a:lnTo>
                  <a:cubicBezTo>
                    <a:pt x="816" y="402"/>
                    <a:pt x="815" y="402"/>
                    <a:pt x="814" y="402"/>
                  </a:cubicBezTo>
                  <a:lnTo>
                    <a:pt x="809" y="400"/>
                  </a:lnTo>
                  <a:lnTo>
                    <a:pt x="799" y="398"/>
                  </a:lnTo>
                  <a:lnTo>
                    <a:pt x="781" y="395"/>
                  </a:lnTo>
                  <a:lnTo>
                    <a:pt x="755" y="389"/>
                  </a:lnTo>
                  <a:lnTo>
                    <a:pt x="719" y="382"/>
                  </a:lnTo>
                  <a:lnTo>
                    <a:pt x="670" y="372"/>
                  </a:lnTo>
                  <a:cubicBezTo>
                    <a:pt x="667" y="372"/>
                    <a:pt x="664" y="369"/>
                    <a:pt x="664" y="366"/>
                  </a:cubicBezTo>
                  <a:lnTo>
                    <a:pt x="658" y="338"/>
                  </a:lnTo>
                  <a:lnTo>
                    <a:pt x="659" y="341"/>
                  </a:lnTo>
                  <a:lnTo>
                    <a:pt x="646" y="320"/>
                  </a:lnTo>
                  <a:cubicBezTo>
                    <a:pt x="644" y="317"/>
                    <a:pt x="644" y="312"/>
                    <a:pt x="647" y="310"/>
                  </a:cubicBezTo>
                  <a:lnTo>
                    <a:pt x="648" y="308"/>
                  </a:lnTo>
                  <a:lnTo>
                    <a:pt x="660" y="295"/>
                  </a:lnTo>
                  <a:lnTo>
                    <a:pt x="673" y="281"/>
                  </a:lnTo>
                  <a:lnTo>
                    <a:pt x="692" y="260"/>
                  </a:lnTo>
                  <a:lnTo>
                    <a:pt x="719" y="230"/>
                  </a:lnTo>
                  <a:lnTo>
                    <a:pt x="754" y="191"/>
                  </a:lnTo>
                  <a:lnTo>
                    <a:pt x="754" y="202"/>
                  </a:lnTo>
                  <a:lnTo>
                    <a:pt x="752" y="201"/>
                  </a:lnTo>
                  <a:lnTo>
                    <a:pt x="747" y="195"/>
                  </a:lnTo>
                  <a:lnTo>
                    <a:pt x="732" y="177"/>
                  </a:lnTo>
                  <a:lnTo>
                    <a:pt x="704" y="143"/>
                  </a:lnTo>
                  <a:lnTo>
                    <a:pt x="714" y="145"/>
                  </a:lnTo>
                  <a:lnTo>
                    <a:pt x="713" y="145"/>
                  </a:lnTo>
                  <a:lnTo>
                    <a:pt x="707" y="149"/>
                  </a:lnTo>
                  <a:lnTo>
                    <a:pt x="697" y="154"/>
                  </a:lnTo>
                  <a:lnTo>
                    <a:pt x="681" y="162"/>
                  </a:lnTo>
                  <a:lnTo>
                    <a:pt x="657" y="174"/>
                  </a:lnTo>
                  <a:lnTo>
                    <a:pt x="623" y="191"/>
                  </a:lnTo>
                  <a:lnTo>
                    <a:pt x="578" y="214"/>
                  </a:lnTo>
                  <a:cubicBezTo>
                    <a:pt x="575" y="215"/>
                    <a:pt x="572" y="215"/>
                    <a:pt x="570" y="213"/>
                  </a:cubicBezTo>
                  <a:lnTo>
                    <a:pt x="551" y="198"/>
                  </a:lnTo>
                  <a:lnTo>
                    <a:pt x="531" y="183"/>
                  </a:lnTo>
                  <a:cubicBezTo>
                    <a:pt x="529" y="181"/>
                    <a:pt x="527" y="179"/>
                    <a:pt x="527" y="176"/>
                  </a:cubicBezTo>
                  <a:lnTo>
                    <a:pt x="527" y="174"/>
                  </a:lnTo>
                  <a:lnTo>
                    <a:pt x="527" y="168"/>
                  </a:lnTo>
                  <a:lnTo>
                    <a:pt x="527" y="156"/>
                  </a:lnTo>
                  <a:lnTo>
                    <a:pt x="527" y="137"/>
                  </a:lnTo>
                  <a:lnTo>
                    <a:pt x="527" y="109"/>
                  </a:lnTo>
                  <a:lnTo>
                    <a:pt x="527" y="70"/>
                  </a:lnTo>
                  <a:lnTo>
                    <a:pt x="527" y="18"/>
                  </a:lnTo>
                  <a:lnTo>
                    <a:pt x="535" y="26"/>
                  </a:lnTo>
                  <a:lnTo>
                    <a:pt x="534" y="26"/>
                  </a:lnTo>
                  <a:lnTo>
                    <a:pt x="524" y="25"/>
                  </a:lnTo>
                  <a:lnTo>
                    <a:pt x="501" y="22"/>
                  </a:lnTo>
                  <a:lnTo>
                    <a:pt x="483" y="19"/>
                  </a:lnTo>
                  <a:lnTo>
                    <a:pt x="457" y="16"/>
                  </a:lnTo>
                  <a:lnTo>
                    <a:pt x="465" y="12"/>
                  </a:lnTo>
                  <a:lnTo>
                    <a:pt x="464" y="13"/>
                  </a:lnTo>
                  <a:lnTo>
                    <a:pt x="462" y="18"/>
                  </a:lnTo>
                  <a:lnTo>
                    <a:pt x="458" y="29"/>
                  </a:lnTo>
                  <a:lnTo>
                    <a:pt x="451" y="46"/>
                  </a:lnTo>
                  <a:lnTo>
                    <a:pt x="440" y="71"/>
                  </a:lnTo>
                  <a:lnTo>
                    <a:pt x="425" y="105"/>
                  </a:lnTo>
                  <a:lnTo>
                    <a:pt x="406" y="151"/>
                  </a:lnTo>
                  <a:cubicBezTo>
                    <a:pt x="405" y="153"/>
                    <a:pt x="402" y="155"/>
                    <a:pt x="399" y="155"/>
                  </a:cubicBezTo>
                  <a:lnTo>
                    <a:pt x="375" y="156"/>
                  </a:lnTo>
                  <a:lnTo>
                    <a:pt x="377" y="156"/>
                  </a:lnTo>
                  <a:lnTo>
                    <a:pt x="353" y="165"/>
                  </a:lnTo>
                  <a:cubicBezTo>
                    <a:pt x="350" y="166"/>
                    <a:pt x="347" y="165"/>
                    <a:pt x="345" y="163"/>
                  </a:cubicBezTo>
                  <a:lnTo>
                    <a:pt x="342" y="160"/>
                  </a:lnTo>
                  <a:lnTo>
                    <a:pt x="332" y="148"/>
                  </a:lnTo>
                  <a:lnTo>
                    <a:pt x="320" y="134"/>
                  </a:lnTo>
                  <a:lnTo>
                    <a:pt x="303" y="113"/>
                  </a:lnTo>
                  <a:lnTo>
                    <a:pt x="278" y="83"/>
                  </a:lnTo>
                  <a:lnTo>
                    <a:pt x="246" y="44"/>
                  </a:lnTo>
                  <a:lnTo>
                    <a:pt x="252" y="46"/>
                  </a:lnTo>
                  <a:lnTo>
                    <a:pt x="251" y="46"/>
                  </a:lnTo>
                  <a:lnTo>
                    <a:pt x="255" y="45"/>
                  </a:lnTo>
                  <a:lnTo>
                    <a:pt x="248" y="50"/>
                  </a:lnTo>
                  <a:lnTo>
                    <a:pt x="227" y="59"/>
                  </a:lnTo>
                  <a:lnTo>
                    <a:pt x="210" y="66"/>
                  </a:lnTo>
                  <a:lnTo>
                    <a:pt x="188" y="76"/>
                  </a:lnTo>
                  <a:lnTo>
                    <a:pt x="192" y="65"/>
                  </a:lnTo>
                  <a:lnTo>
                    <a:pt x="193" y="67"/>
                  </a:lnTo>
                  <a:cubicBezTo>
                    <a:pt x="193" y="67"/>
                    <a:pt x="193" y="68"/>
                    <a:pt x="193" y="68"/>
                  </a:cubicBezTo>
                  <a:lnTo>
                    <a:pt x="195" y="74"/>
                  </a:lnTo>
                  <a:lnTo>
                    <a:pt x="198" y="85"/>
                  </a:lnTo>
                  <a:lnTo>
                    <a:pt x="204" y="102"/>
                  </a:lnTo>
                  <a:lnTo>
                    <a:pt x="213" y="128"/>
                  </a:lnTo>
                  <a:lnTo>
                    <a:pt x="225" y="165"/>
                  </a:lnTo>
                  <a:lnTo>
                    <a:pt x="241" y="214"/>
                  </a:lnTo>
                  <a:cubicBezTo>
                    <a:pt x="242" y="217"/>
                    <a:pt x="241" y="220"/>
                    <a:pt x="239" y="222"/>
                  </a:cubicBezTo>
                  <a:lnTo>
                    <a:pt x="215" y="246"/>
                  </a:lnTo>
                  <a:lnTo>
                    <a:pt x="200" y="261"/>
                  </a:lnTo>
                  <a:cubicBezTo>
                    <a:pt x="199" y="263"/>
                    <a:pt x="197" y="263"/>
                    <a:pt x="194" y="263"/>
                  </a:cubicBezTo>
                  <a:lnTo>
                    <a:pt x="192" y="263"/>
                  </a:lnTo>
                  <a:cubicBezTo>
                    <a:pt x="192" y="263"/>
                    <a:pt x="191" y="263"/>
                    <a:pt x="190" y="263"/>
                  </a:cubicBezTo>
                  <a:lnTo>
                    <a:pt x="185" y="261"/>
                  </a:lnTo>
                  <a:lnTo>
                    <a:pt x="175" y="259"/>
                  </a:lnTo>
                  <a:lnTo>
                    <a:pt x="157" y="256"/>
                  </a:lnTo>
                  <a:lnTo>
                    <a:pt x="131" y="251"/>
                  </a:lnTo>
                  <a:lnTo>
                    <a:pt x="95" y="244"/>
                  </a:lnTo>
                  <a:lnTo>
                    <a:pt x="46" y="234"/>
                  </a:lnTo>
                  <a:lnTo>
                    <a:pt x="55" y="226"/>
                  </a:lnTo>
                  <a:lnTo>
                    <a:pt x="55" y="227"/>
                  </a:lnTo>
                  <a:cubicBezTo>
                    <a:pt x="55" y="229"/>
                    <a:pt x="55" y="230"/>
                    <a:pt x="55" y="231"/>
                  </a:cubicBezTo>
                  <a:lnTo>
                    <a:pt x="51" y="239"/>
                  </a:lnTo>
                  <a:lnTo>
                    <a:pt x="43" y="262"/>
                  </a:lnTo>
                  <a:lnTo>
                    <a:pt x="36" y="282"/>
                  </a:lnTo>
                  <a:lnTo>
                    <a:pt x="26" y="308"/>
                  </a:lnTo>
                  <a:lnTo>
                    <a:pt x="22" y="298"/>
                  </a:lnTo>
                  <a:lnTo>
                    <a:pt x="25" y="300"/>
                  </a:lnTo>
                  <a:lnTo>
                    <a:pt x="39" y="309"/>
                  </a:lnTo>
                  <a:lnTo>
                    <a:pt x="54" y="318"/>
                  </a:lnTo>
                  <a:lnTo>
                    <a:pt x="77" y="332"/>
                  </a:lnTo>
                  <a:lnTo>
                    <a:pt x="108" y="352"/>
                  </a:lnTo>
                  <a:lnTo>
                    <a:pt x="150" y="378"/>
                  </a:lnTo>
                  <a:cubicBezTo>
                    <a:pt x="152" y="379"/>
                    <a:pt x="153" y="382"/>
                    <a:pt x="153" y="384"/>
                  </a:cubicBezTo>
                  <a:lnTo>
                    <a:pt x="153" y="409"/>
                  </a:lnTo>
                  <a:lnTo>
                    <a:pt x="153" y="433"/>
                  </a:lnTo>
                  <a:cubicBezTo>
                    <a:pt x="153" y="437"/>
                    <a:pt x="152" y="439"/>
                    <a:pt x="149" y="441"/>
                  </a:cubicBezTo>
                  <a:lnTo>
                    <a:pt x="148" y="441"/>
                  </a:lnTo>
                  <a:lnTo>
                    <a:pt x="142" y="445"/>
                  </a:lnTo>
                  <a:lnTo>
                    <a:pt x="132" y="450"/>
                  </a:lnTo>
                  <a:lnTo>
                    <a:pt x="116" y="458"/>
                  </a:lnTo>
                  <a:lnTo>
                    <a:pt x="91" y="470"/>
                  </a:lnTo>
                  <a:lnTo>
                    <a:pt x="57" y="487"/>
                  </a:lnTo>
                  <a:lnTo>
                    <a:pt x="12" y="510"/>
                  </a:lnTo>
                  <a:lnTo>
                    <a:pt x="16" y="502"/>
                  </a:lnTo>
                  <a:lnTo>
                    <a:pt x="16" y="503"/>
                  </a:lnTo>
                  <a:lnTo>
                    <a:pt x="16" y="500"/>
                  </a:lnTo>
                  <a:lnTo>
                    <a:pt x="20" y="510"/>
                  </a:lnTo>
                  <a:lnTo>
                    <a:pt x="29" y="533"/>
                  </a:lnTo>
                  <a:lnTo>
                    <a:pt x="36" y="553"/>
                  </a:lnTo>
                  <a:lnTo>
                    <a:pt x="46" y="579"/>
                  </a:lnTo>
                  <a:lnTo>
                    <a:pt x="38" y="573"/>
                  </a:lnTo>
                  <a:lnTo>
                    <a:pt x="40" y="573"/>
                  </a:lnTo>
                  <a:lnTo>
                    <a:pt x="39" y="574"/>
                  </a:lnTo>
                  <a:lnTo>
                    <a:pt x="46" y="572"/>
                  </a:lnTo>
                  <a:lnTo>
                    <a:pt x="55" y="572"/>
                  </a:lnTo>
                  <a:lnTo>
                    <a:pt x="74" y="569"/>
                  </a:lnTo>
                  <a:lnTo>
                    <a:pt x="99" y="566"/>
                  </a:lnTo>
                  <a:lnTo>
                    <a:pt x="135" y="561"/>
                  </a:lnTo>
                  <a:lnTo>
                    <a:pt x="183" y="555"/>
                  </a:lnTo>
                  <a:cubicBezTo>
                    <a:pt x="187" y="554"/>
                    <a:pt x="189" y="556"/>
                    <a:pt x="191" y="558"/>
                  </a:cubicBezTo>
                  <a:lnTo>
                    <a:pt x="205" y="580"/>
                  </a:lnTo>
                  <a:lnTo>
                    <a:pt x="219" y="596"/>
                  </a:lnTo>
                  <a:cubicBezTo>
                    <a:pt x="222" y="599"/>
                    <a:pt x="222" y="602"/>
                    <a:pt x="221" y="605"/>
                  </a:cubicBezTo>
                  <a:lnTo>
                    <a:pt x="220" y="607"/>
                  </a:lnTo>
                  <a:lnTo>
                    <a:pt x="220" y="606"/>
                  </a:lnTo>
                  <a:lnTo>
                    <a:pt x="218" y="612"/>
                  </a:lnTo>
                  <a:lnTo>
                    <a:pt x="214" y="624"/>
                  </a:lnTo>
                  <a:lnTo>
                    <a:pt x="207" y="640"/>
                  </a:lnTo>
                  <a:lnTo>
                    <a:pt x="197" y="666"/>
                  </a:lnTo>
                  <a:lnTo>
                    <a:pt x="182" y="703"/>
                  </a:lnTo>
                  <a:lnTo>
                    <a:pt x="163" y="752"/>
                  </a:lnTo>
                  <a:lnTo>
                    <a:pt x="161" y="744"/>
                  </a:lnTo>
                  <a:lnTo>
                    <a:pt x="162" y="745"/>
                  </a:lnTo>
                  <a:lnTo>
                    <a:pt x="160" y="743"/>
                  </a:lnTo>
                  <a:lnTo>
                    <a:pt x="169" y="748"/>
                  </a:lnTo>
                  <a:lnTo>
                    <a:pt x="189" y="760"/>
                  </a:lnTo>
                  <a:lnTo>
                    <a:pt x="206" y="770"/>
                  </a:lnTo>
                  <a:lnTo>
                    <a:pt x="228" y="783"/>
                  </a:lnTo>
                  <a:lnTo>
                    <a:pt x="218" y="784"/>
                  </a:lnTo>
                  <a:lnTo>
                    <a:pt x="220" y="782"/>
                  </a:lnTo>
                  <a:lnTo>
                    <a:pt x="231" y="770"/>
                  </a:lnTo>
                  <a:lnTo>
                    <a:pt x="244" y="757"/>
                  </a:lnTo>
                  <a:lnTo>
                    <a:pt x="263" y="738"/>
                  </a:lnTo>
                  <a:lnTo>
                    <a:pt x="290" y="711"/>
                  </a:lnTo>
                  <a:lnTo>
                    <a:pt x="325" y="675"/>
                  </a:lnTo>
                  <a:cubicBezTo>
                    <a:pt x="326" y="673"/>
                    <a:pt x="328" y="672"/>
                    <a:pt x="330" y="672"/>
                  </a:cubicBezTo>
                  <a:lnTo>
                    <a:pt x="344" y="672"/>
                  </a:lnTo>
                  <a:lnTo>
                    <a:pt x="350" y="672"/>
                  </a:lnTo>
                  <a:cubicBezTo>
                    <a:pt x="352" y="672"/>
                    <a:pt x="354" y="673"/>
                    <a:pt x="355" y="674"/>
                  </a:cubicBezTo>
                  <a:lnTo>
                    <a:pt x="369" y="683"/>
                  </a:lnTo>
                  <a:lnTo>
                    <a:pt x="365" y="681"/>
                  </a:lnTo>
                  <a:lnTo>
                    <a:pt x="380" y="682"/>
                  </a:lnTo>
                  <a:cubicBezTo>
                    <a:pt x="383" y="683"/>
                    <a:pt x="385" y="684"/>
                    <a:pt x="387" y="687"/>
                  </a:cubicBezTo>
                  <a:lnTo>
                    <a:pt x="388" y="689"/>
                  </a:lnTo>
                  <a:cubicBezTo>
                    <a:pt x="388" y="689"/>
                    <a:pt x="388" y="690"/>
                    <a:pt x="388" y="690"/>
                  </a:cubicBezTo>
                  <a:lnTo>
                    <a:pt x="390" y="696"/>
                  </a:lnTo>
                  <a:lnTo>
                    <a:pt x="393" y="707"/>
                  </a:lnTo>
                  <a:lnTo>
                    <a:pt x="399" y="724"/>
                  </a:lnTo>
                  <a:lnTo>
                    <a:pt x="408" y="750"/>
                  </a:lnTo>
                  <a:lnTo>
                    <a:pt x="420" y="787"/>
                  </a:lnTo>
                  <a:lnTo>
                    <a:pt x="436" y="836"/>
                  </a:lnTo>
                  <a:cubicBezTo>
                    <a:pt x="437" y="840"/>
                    <a:pt x="435" y="845"/>
                    <a:pt x="431" y="846"/>
                  </a:cubicBezTo>
                  <a:cubicBezTo>
                    <a:pt x="427" y="847"/>
                    <a:pt x="422" y="845"/>
                    <a:pt x="421" y="841"/>
                  </a:cubicBezTo>
                  <a:close/>
                </a:path>
              </a:pathLst>
            </a:custGeom>
            <a:solidFill>
              <a:srgbClr val="1A171B"/>
            </a:solidFill>
            <a:ln w="0" cap="flat">
              <a:solidFill>
                <a:srgbClr val="1A171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95" name="Freeform 14"/>
            <p:cNvSpPr>
              <a:spLocks noEditPoints="1"/>
            </p:cNvSpPr>
            <p:nvPr/>
          </p:nvSpPr>
          <p:spPr bwMode="auto">
            <a:xfrm>
              <a:off x="3144" y="1932"/>
              <a:ext cx="120" cy="114"/>
            </a:xfrm>
            <a:custGeom>
              <a:avLst/>
              <a:gdLst/>
              <a:ahLst/>
              <a:cxnLst>
                <a:cxn ang="0">
                  <a:pos x="304" y="153"/>
                </a:cxn>
                <a:cxn ang="0">
                  <a:pos x="302" y="126"/>
                </a:cxn>
                <a:cxn ang="0">
                  <a:pos x="294" y="101"/>
                </a:cxn>
                <a:cxn ang="0">
                  <a:pos x="264" y="57"/>
                </a:cxn>
                <a:cxn ang="0">
                  <a:pos x="217" y="27"/>
                </a:cxn>
                <a:cxn ang="0">
                  <a:pos x="191" y="19"/>
                </a:cxn>
                <a:cxn ang="0">
                  <a:pos x="161" y="16"/>
                </a:cxn>
                <a:cxn ang="0">
                  <a:pos x="133" y="19"/>
                </a:cxn>
                <a:cxn ang="0">
                  <a:pos x="106" y="26"/>
                </a:cxn>
                <a:cxn ang="0">
                  <a:pos x="60" y="55"/>
                </a:cxn>
                <a:cxn ang="0">
                  <a:pos x="28" y="99"/>
                </a:cxn>
                <a:cxn ang="0">
                  <a:pos x="19" y="124"/>
                </a:cxn>
                <a:cxn ang="0">
                  <a:pos x="16" y="152"/>
                </a:cxn>
                <a:cxn ang="0">
                  <a:pos x="19" y="179"/>
                </a:cxn>
                <a:cxn ang="0">
                  <a:pos x="27" y="204"/>
                </a:cxn>
                <a:cxn ang="0">
                  <a:pos x="58" y="248"/>
                </a:cxn>
                <a:cxn ang="0">
                  <a:pos x="103" y="278"/>
                </a:cxn>
                <a:cxn ang="0">
                  <a:pos x="159" y="289"/>
                </a:cxn>
                <a:cxn ang="0">
                  <a:pos x="215" y="279"/>
                </a:cxn>
                <a:cxn ang="0">
                  <a:pos x="262" y="250"/>
                </a:cxn>
                <a:cxn ang="0">
                  <a:pos x="293" y="206"/>
                </a:cxn>
                <a:cxn ang="0">
                  <a:pos x="301" y="181"/>
                </a:cxn>
                <a:cxn ang="0">
                  <a:pos x="317" y="182"/>
                </a:cxn>
                <a:cxn ang="0">
                  <a:pos x="308" y="211"/>
                </a:cxn>
                <a:cxn ang="0">
                  <a:pos x="275" y="259"/>
                </a:cxn>
                <a:cxn ang="0">
                  <a:pos x="224" y="292"/>
                </a:cxn>
                <a:cxn ang="0">
                  <a:pos x="162" y="304"/>
                </a:cxn>
                <a:cxn ang="0">
                  <a:pos x="100" y="293"/>
                </a:cxn>
                <a:cxn ang="0">
                  <a:pos x="49" y="261"/>
                </a:cxn>
                <a:cxn ang="0">
                  <a:pos x="14" y="213"/>
                </a:cxn>
                <a:cxn ang="0">
                  <a:pos x="4" y="184"/>
                </a:cxn>
                <a:cxn ang="0">
                  <a:pos x="0" y="153"/>
                </a:cxn>
                <a:cxn ang="0">
                  <a:pos x="3" y="123"/>
                </a:cxn>
                <a:cxn ang="0">
                  <a:pos x="13" y="94"/>
                </a:cxn>
                <a:cxn ang="0">
                  <a:pos x="47" y="46"/>
                </a:cxn>
                <a:cxn ang="0">
                  <a:pos x="97" y="13"/>
                </a:cxn>
                <a:cxn ang="0">
                  <a:pos x="128" y="4"/>
                </a:cxn>
                <a:cxn ang="0">
                  <a:pos x="160" y="0"/>
                </a:cxn>
                <a:cxn ang="0">
                  <a:pos x="192" y="3"/>
                </a:cxn>
                <a:cxn ang="0">
                  <a:pos x="222" y="12"/>
                </a:cxn>
                <a:cxn ang="0">
                  <a:pos x="273" y="44"/>
                </a:cxn>
                <a:cxn ang="0">
                  <a:pos x="307" y="92"/>
                </a:cxn>
                <a:cxn ang="0">
                  <a:pos x="317" y="121"/>
                </a:cxn>
                <a:cxn ang="0">
                  <a:pos x="320" y="152"/>
                </a:cxn>
                <a:cxn ang="0">
                  <a:pos x="317" y="182"/>
                </a:cxn>
              </a:cxnLst>
              <a:rect l="0" t="0" r="r" b="b"/>
              <a:pathLst>
                <a:path w="320" h="305">
                  <a:moveTo>
                    <a:pt x="304" y="152"/>
                  </a:moveTo>
                  <a:lnTo>
                    <a:pt x="304" y="153"/>
                  </a:lnTo>
                  <a:lnTo>
                    <a:pt x="301" y="124"/>
                  </a:lnTo>
                  <a:lnTo>
                    <a:pt x="302" y="126"/>
                  </a:lnTo>
                  <a:lnTo>
                    <a:pt x="293" y="99"/>
                  </a:lnTo>
                  <a:lnTo>
                    <a:pt x="294" y="101"/>
                  </a:lnTo>
                  <a:lnTo>
                    <a:pt x="262" y="55"/>
                  </a:lnTo>
                  <a:lnTo>
                    <a:pt x="264" y="57"/>
                  </a:lnTo>
                  <a:lnTo>
                    <a:pt x="215" y="26"/>
                  </a:lnTo>
                  <a:lnTo>
                    <a:pt x="217" y="27"/>
                  </a:lnTo>
                  <a:lnTo>
                    <a:pt x="189" y="19"/>
                  </a:lnTo>
                  <a:lnTo>
                    <a:pt x="191" y="19"/>
                  </a:lnTo>
                  <a:lnTo>
                    <a:pt x="160" y="16"/>
                  </a:lnTo>
                  <a:lnTo>
                    <a:pt x="161" y="16"/>
                  </a:lnTo>
                  <a:lnTo>
                    <a:pt x="131" y="19"/>
                  </a:lnTo>
                  <a:lnTo>
                    <a:pt x="133" y="19"/>
                  </a:lnTo>
                  <a:lnTo>
                    <a:pt x="104" y="27"/>
                  </a:lnTo>
                  <a:lnTo>
                    <a:pt x="106" y="26"/>
                  </a:lnTo>
                  <a:lnTo>
                    <a:pt x="58" y="57"/>
                  </a:lnTo>
                  <a:lnTo>
                    <a:pt x="60" y="55"/>
                  </a:lnTo>
                  <a:lnTo>
                    <a:pt x="27" y="101"/>
                  </a:lnTo>
                  <a:lnTo>
                    <a:pt x="28" y="99"/>
                  </a:lnTo>
                  <a:lnTo>
                    <a:pt x="19" y="126"/>
                  </a:lnTo>
                  <a:lnTo>
                    <a:pt x="19" y="124"/>
                  </a:lnTo>
                  <a:lnTo>
                    <a:pt x="16" y="153"/>
                  </a:lnTo>
                  <a:lnTo>
                    <a:pt x="16" y="152"/>
                  </a:lnTo>
                  <a:lnTo>
                    <a:pt x="19" y="181"/>
                  </a:lnTo>
                  <a:lnTo>
                    <a:pt x="19" y="179"/>
                  </a:lnTo>
                  <a:lnTo>
                    <a:pt x="28" y="206"/>
                  </a:lnTo>
                  <a:lnTo>
                    <a:pt x="27" y="204"/>
                  </a:lnTo>
                  <a:lnTo>
                    <a:pt x="60" y="250"/>
                  </a:lnTo>
                  <a:lnTo>
                    <a:pt x="58" y="248"/>
                  </a:lnTo>
                  <a:lnTo>
                    <a:pt x="106" y="279"/>
                  </a:lnTo>
                  <a:lnTo>
                    <a:pt x="103" y="278"/>
                  </a:lnTo>
                  <a:lnTo>
                    <a:pt x="162" y="289"/>
                  </a:lnTo>
                  <a:lnTo>
                    <a:pt x="159" y="289"/>
                  </a:lnTo>
                  <a:lnTo>
                    <a:pt x="218" y="278"/>
                  </a:lnTo>
                  <a:lnTo>
                    <a:pt x="215" y="279"/>
                  </a:lnTo>
                  <a:lnTo>
                    <a:pt x="264" y="248"/>
                  </a:lnTo>
                  <a:lnTo>
                    <a:pt x="262" y="250"/>
                  </a:lnTo>
                  <a:lnTo>
                    <a:pt x="294" y="204"/>
                  </a:lnTo>
                  <a:lnTo>
                    <a:pt x="293" y="206"/>
                  </a:lnTo>
                  <a:lnTo>
                    <a:pt x="302" y="179"/>
                  </a:lnTo>
                  <a:lnTo>
                    <a:pt x="301" y="181"/>
                  </a:lnTo>
                  <a:lnTo>
                    <a:pt x="304" y="152"/>
                  </a:lnTo>
                  <a:close/>
                  <a:moveTo>
                    <a:pt x="317" y="182"/>
                  </a:moveTo>
                  <a:cubicBezTo>
                    <a:pt x="317" y="183"/>
                    <a:pt x="317" y="183"/>
                    <a:pt x="317" y="184"/>
                  </a:cubicBezTo>
                  <a:lnTo>
                    <a:pt x="308" y="211"/>
                  </a:lnTo>
                  <a:cubicBezTo>
                    <a:pt x="308" y="212"/>
                    <a:pt x="307" y="212"/>
                    <a:pt x="307" y="213"/>
                  </a:cubicBezTo>
                  <a:lnTo>
                    <a:pt x="275" y="259"/>
                  </a:lnTo>
                  <a:cubicBezTo>
                    <a:pt x="274" y="260"/>
                    <a:pt x="274" y="261"/>
                    <a:pt x="273" y="261"/>
                  </a:cubicBezTo>
                  <a:lnTo>
                    <a:pt x="224" y="292"/>
                  </a:lnTo>
                  <a:cubicBezTo>
                    <a:pt x="223" y="293"/>
                    <a:pt x="222" y="293"/>
                    <a:pt x="221" y="293"/>
                  </a:cubicBezTo>
                  <a:lnTo>
                    <a:pt x="162" y="304"/>
                  </a:lnTo>
                  <a:cubicBezTo>
                    <a:pt x="161" y="305"/>
                    <a:pt x="160" y="305"/>
                    <a:pt x="159" y="304"/>
                  </a:cubicBezTo>
                  <a:lnTo>
                    <a:pt x="100" y="293"/>
                  </a:lnTo>
                  <a:cubicBezTo>
                    <a:pt x="99" y="293"/>
                    <a:pt x="98" y="293"/>
                    <a:pt x="97" y="292"/>
                  </a:cubicBezTo>
                  <a:lnTo>
                    <a:pt x="49" y="261"/>
                  </a:lnTo>
                  <a:cubicBezTo>
                    <a:pt x="48" y="261"/>
                    <a:pt x="48" y="260"/>
                    <a:pt x="47" y="259"/>
                  </a:cubicBezTo>
                  <a:lnTo>
                    <a:pt x="14" y="213"/>
                  </a:lnTo>
                  <a:cubicBezTo>
                    <a:pt x="13" y="212"/>
                    <a:pt x="13" y="212"/>
                    <a:pt x="13" y="211"/>
                  </a:cubicBezTo>
                  <a:lnTo>
                    <a:pt x="4" y="184"/>
                  </a:lnTo>
                  <a:cubicBezTo>
                    <a:pt x="4" y="183"/>
                    <a:pt x="4" y="183"/>
                    <a:pt x="3" y="182"/>
                  </a:cubicBezTo>
                  <a:lnTo>
                    <a:pt x="0" y="153"/>
                  </a:lnTo>
                  <a:cubicBezTo>
                    <a:pt x="0" y="153"/>
                    <a:pt x="0" y="152"/>
                    <a:pt x="0" y="152"/>
                  </a:cubicBezTo>
                  <a:lnTo>
                    <a:pt x="3" y="123"/>
                  </a:lnTo>
                  <a:cubicBezTo>
                    <a:pt x="4" y="122"/>
                    <a:pt x="4" y="121"/>
                    <a:pt x="4" y="121"/>
                  </a:cubicBezTo>
                  <a:lnTo>
                    <a:pt x="13" y="94"/>
                  </a:lnTo>
                  <a:cubicBezTo>
                    <a:pt x="13" y="93"/>
                    <a:pt x="13" y="92"/>
                    <a:pt x="14" y="92"/>
                  </a:cubicBezTo>
                  <a:lnTo>
                    <a:pt x="47" y="46"/>
                  </a:lnTo>
                  <a:cubicBezTo>
                    <a:pt x="48" y="45"/>
                    <a:pt x="48" y="44"/>
                    <a:pt x="49" y="44"/>
                  </a:cubicBezTo>
                  <a:lnTo>
                    <a:pt x="97" y="13"/>
                  </a:lnTo>
                  <a:cubicBezTo>
                    <a:pt x="98" y="12"/>
                    <a:pt x="99" y="12"/>
                    <a:pt x="99" y="12"/>
                  </a:cubicBezTo>
                  <a:lnTo>
                    <a:pt x="128" y="4"/>
                  </a:lnTo>
                  <a:cubicBezTo>
                    <a:pt x="129" y="4"/>
                    <a:pt x="129" y="4"/>
                    <a:pt x="130" y="3"/>
                  </a:cubicBezTo>
                  <a:lnTo>
                    <a:pt x="160" y="0"/>
                  </a:lnTo>
                  <a:cubicBezTo>
                    <a:pt x="160" y="0"/>
                    <a:pt x="161" y="0"/>
                    <a:pt x="161" y="0"/>
                  </a:cubicBezTo>
                  <a:lnTo>
                    <a:pt x="192" y="3"/>
                  </a:lnTo>
                  <a:cubicBezTo>
                    <a:pt x="193" y="4"/>
                    <a:pt x="193" y="4"/>
                    <a:pt x="194" y="4"/>
                  </a:cubicBezTo>
                  <a:lnTo>
                    <a:pt x="222" y="12"/>
                  </a:lnTo>
                  <a:cubicBezTo>
                    <a:pt x="222" y="12"/>
                    <a:pt x="223" y="12"/>
                    <a:pt x="224" y="13"/>
                  </a:cubicBezTo>
                  <a:lnTo>
                    <a:pt x="273" y="44"/>
                  </a:lnTo>
                  <a:cubicBezTo>
                    <a:pt x="274" y="44"/>
                    <a:pt x="274" y="45"/>
                    <a:pt x="275" y="46"/>
                  </a:cubicBezTo>
                  <a:lnTo>
                    <a:pt x="307" y="92"/>
                  </a:lnTo>
                  <a:cubicBezTo>
                    <a:pt x="307" y="93"/>
                    <a:pt x="308" y="93"/>
                    <a:pt x="308" y="94"/>
                  </a:cubicBezTo>
                  <a:lnTo>
                    <a:pt x="317" y="121"/>
                  </a:lnTo>
                  <a:cubicBezTo>
                    <a:pt x="317" y="121"/>
                    <a:pt x="317" y="122"/>
                    <a:pt x="317" y="123"/>
                  </a:cubicBezTo>
                  <a:lnTo>
                    <a:pt x="320" y="152"/>
                  </a:lnTo>
                  <a:cubicBezTo>
                    <a:pt x="320" y="152"/>
                    <a:pt x="320" y="153"/>
                    <a:pt x="320" y="153"/>
                  </a:cubicBezTo>
                  <a:lnTo>
                    <a:pt x="317" y="182"/>
                  </a:lnTo>
                  <a:close/>
                </a:path>
              </a:pathLst>
            </a:custGeom>
            <a:solidFill>
              <a:srgbClr val="1A171B"/>
            </a:solidFill>
            <a:ln w="0" cap="flat">
              <a:solidFill>
                <a:srgbClr val="1A171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96" name="Freeform 15"/>
            <p:cNvSpPr>
              <a:spLocks noEditPoints="1"/>
            </p:cNvSpPr>
            <p:nvPr/>
          </p:nvSpPr>
          <p:spPr bwMode="auto">
            <a:xfrm>
              <a:off x="2940" y="1728"/>
              <a:ext cx="102" cy="108"/>
            </a:xfrm>
            <a:custGeom>
              <a:avLst/>
              <a:gdLst/>
              <a:ahLst/>
              <a:cxnLst>
                <a:cxn ang="0">
                  <a:pos x="257" y="146"/>
                </a:cxn>
                <a:cxn ang="0">
                  <a:pos x="248" y="96"/>
                </a:cxn>
                <a:cxn ang="0">
                  <a:pos x="223" y="55"/>
                </a:cxn>
                <a:cxn ang="0">
                  <a:pos x="185" y="27"/>
                </a:cxn>
                <a:cxn ang="0">
                  <a:pos x="138" y="16"/>
                </a:cxn>
                <a:cxn ang="0">
                  <a:pos x="91" y="26"/>
                </a:cxn>
                <a:cxn ang="0">
                  <a:pos x="53" y="53"/>
                </a:cxn>
                <a:cxn ang="0">
                  <a:pos x="26" y="93"/>
                </a:cxn>
                <a:cxn ang="0">
                  <a:pos x="16" y="143"/>
                </a:cxn>
                <a:cxn ang="0">
                  <a:pos x="25" y="193"/>
                </a:cxn>
                <a:cxn ang="0">
                  <a:pos x="51" y="235"/>
                </a:cxn>
                <a:cxn ang="0">
                  <a:pos x="88" y="262"/>
                </a:cxn>
                <a:cxn ang="0">
                  <a:pos x="135" y="273"/>
                </a:cxn>
                <a:cxn ang="0">
                  <a:pos x="182" y="263"/>
                </a:cxn>
                <a:cxn ang="0">
                  <a:pos x="221" y="237"/>
                </a:cxn>
                <a:cxn ang="0">
                  <a:pos x="247" y="196"/>
                </a:cxn>
                <a:cxn ang="0">
                  <a:pos x="262" y="199"/>
                </a:cxn>
                <a:cxn ang="0">
                  <a:pos x="234" y="246"/>
                </a:cxn>
                <a:cxn ang="0">
                  <a:pos x="191" y="276"/>
                </a:cxn>
                <a:cxn ang="0">
                  <a:pos x="138" y="288"/>
                </a:cxn>
                <a:cxn ang="0">
                  <a:pos x="85" y="277"/>
                </a:cxn>
                <a:cxn ang="0">
                  <a:pos x="42" y="248"/>
                </a:cxn>
                <a:cxn ang="0">
                  <a:pos x="12" y="202"/>
                </a:cxn>
                <a:cxn ang="0">
                  <a:pos x="1" y="146"/>
                </a:cxn>
                <a:cxn ang="0">
                  <a:pos x="11" y="90"/>
                </a:cxn>
                <a:cxn ang="0">
                  <a:pos x="40" y="44"/>
                </a:cxn>
                <a:cxn ang="0">
                  <a:pos x="82" y="13"/>
                </a:cxn>
                <a:cxn ang="0">
                  <a:pos x="135" y="1"/>
                </a:cxn>
                <a:cxn ang="0">
                  <a:pos x="188" y="12"/>
                </a:cxn>
                <a:cxn ang="0">
                  <a:pos x="232" y="42"/>
                </a:cxn>
                <a:cxn ang="0">
                  <a:pos x="261" y="87"/>
                </a:cxn>
                <a:cxn ang="0">
                  <a:pos x="272" y="143"/>
                </a:cxn>
                <a:cxn ang="0">
                  <a:pos x="262" y="199"/>
                </a:cxn>
              </a:cxnLst>
              <a:rect l="0" t="0" r="r" b="b"/>
              <a:pathLst>
                <a:path w="273" h="289">
                  <a:moveTo>
                    <a:pt x="257" y="143"/>
                  </a:moveTo>
                  <a:lnTo>
                    <a:pt x="257" y="146"/>
                  </a:lnTo>
                  <a:lnTo>
                    <a:pt x="247" y="93"/>
                  </a:lnTo>
                  <a:lnTo>
                    <a:pt x="248" y="96"/>
                  </a:lnTo>
                  <a:lnTo>
                    <a:pt x="221" y="53"/>
                  </a:lnTo>
                  <a:lnTo>
                    <a:pt x="223" y="55"/>
                  </a:lnTo>
                  <a:lnTo>
                    <a:pt x="182" y="26"/>
                  </a:lnTo>
                  <a:lnTo>
                    <a:pt x="185" y="27"/>
                  </a:lnTo>
                  <a:lnTo>
                    <a:pt x="135" y="16"/>
                  </a:lnTo>
                  <a:lnTo>
                    <a:pt x="138" y="16"/>
                  </a:lnTo>
                  <a:lnTo>
                    <a:pt x="88" y="27"/>
                  </a:lnTo>
                  <a:lnTo>
                    <a:pt x="91" y="26"/>
                  </a:lnTo>
                  <a:lnTo>
                    <a:pt x="51" y="55"/>
                  </a:lnTo>
                  <a:lnTo>
                    <a:pt x="53" y="53"/>
                  </a:lnTo>
                  <a:lnTo>
                    <a:pt x="25" y="96"/>
                  </a:lnTo>
                  <a:lnTo>
                    <a:pt x="26" y="93"/>
                  </a:lnTo>
                  <a:lnTo>
                    <a:pt x="16" y="146"/>
                  </a:lnTo>
                  <a:lnTo>
                    <a:pt x="16" y="143"/>
                  </a:lnTo>
                  <a:lnTo>
                    <a:pt x="26" y="196"/>
                  </a:lnTo>
                  <a:lnTo>
                    <a:pt x="25" y="193"/>
                  </a:lnTo>
                  <a:lnTo>
                    <a:pt x="53" y="237"/>
                  </a:lnTo>
                  <a:lnTo>
                    <a:pt x="51" y="235"/>
                  </a:lnTo>
                  <a:lnTo>
                    <a:pt x="91" y="263"/>
                  </a:lnTo>
                  <a:lnTo>
                    <a:pt x="88" y="262"/>
                  </a:lnTo>
                  <a:lnTo>
                    <a:pt x="138" y="273"/>
                  </a:lnTo>
                  <a:lnTo>
                    <a:pt x="135" y="273"/>
                  </a:lnTo>
                  <a:lnTo>
                    <a:pt x="185" y="262"/>
                  </a:lnTo>
                  <a:lnTo>
                    <a:pt x="182" y="263"/>
                  </a:lnTo>
                  <a:lnTo>
                    <a:pt x="223" y="235"/>
                  </a:lnTo>
                  <a:lnTo>
                    <a:pt x="221" y="237"/>
                  </a:lnTo>
                  <a:lnTo>
                    <a:pt x="248" y="193"/>
                  </a:lnTo>
                  <a:lnTo>
                    <a:pt x="247" y="196"/>
                  </a:lnTo>
                  <a:lnTo>
                    <a:pt x="257" y="143"/>
                  </a:lnTo>
                  <a:close/>
                  <a:moveTo>
                    <a:pt x="262" y="199"/>
                  </a:moveTo>
                  <a:cubicBezTo>
                    <a:pt x="262" y="200"/>
                    <a:pt x="262" y="201"/>
                    <a:pt x="261" y="202"/>
                  </a:cubicBezTo>
                  <a:lnTo>
                    <a:pt x="234" y="246"/>
                  </a:lnTo>
                  <a:cubicBezTo>
                    <a:pt x="234" y="247"/>
                    <a:pt x="233" y="247"/>
                    <a:pt x="232" y="248"/>
                  </a:cubicBezTo>
                  <a:lnTo>
                    <a:pt x="191" y="276"/>
                  </a:lnTo>
                  <a:cubicBezTo>
                    <a:pt x="190" y="277"/>
                    <a:pt x="189" y="277"/>
                    <a:pt x="188" y="277"/>
                  </a:cubicBezTo>
                  <a:lnTo>
                    <a:pt x="138" y="288"/>
                  </a:lnTo>
                  <a:cubicBezTo>
                    <a:pt x="137" y="289"/>
                    <a:pt x="136" y="289"/>
                    <a:pt x="135" y="288"/>
                  </a:cubicBezTo>
                  <a:lnTo>
                    <a:pt x="85" y="277"/>
                  </a:lnTo>
                  <a:cubicBezTo>
                    <a:pt x="84" y="277"/>
                    <a:pt x="83" y="277"/>
                    <a:pt x="82" y="276"/>
                  </a:cubicBezTo>
                  <a:lnTo>
                    <a:pt x="42" y="248"/>
                  </a:lnTo>
                  <a:cubicBezTo>
                    <a:pt x="41" y="247"/>
                    <a:pt x="40" y="247"/>
                    <a:pt x="40" y="246"/>
                  </a:cubicBezTo>
                  <a:lnTo>
                    <a:pt x="12" y="202"/>
                  </a:lnTo>
                  <a:cubicBezTo>
                    <a:pt x="11" y="201"/>
                    <a:pt x="11" y="200"/>
                    <a:pt x="11" y="199"/>
                  </a:cubicBezTo>
                  <a:lnTo>
                    <a:pt x="1" y="146"/>
                  </a:lnTo>
                  <a:cubicBezTo>
                    <a:pt x="0" y="145"/>
                    <a:pt x="0" y="144"/>
                    <a:pt x="1" y="143"/>
                  </a:cubicBezTo>
                  <a:lnTo>
                    <a:pt x="11" y="90"/>
                  </a:lnTo>
                  <a:cubicBezTo>
                    <a:pt x="11" y="89"/>
                    <a:pt x="11" y="88"/>
                    <a:pt x="12" y="87"/>
                  </a:cubicBezTo>
                  <a:lnTo>
                    <a:pt x="40" y="44"/>
                  </a:lnTo>
                  <a:cubicBezTo>
                    <a:pt x="40" y="43"/>
                    <a:pt x="41" y="43"/>
                    <a:pt x="42" y="42"/>
                  </a:cubicBezTo>
                  <a:lnTo>
                    <a:pt x="82" y="13"/>
                  </a:lnTo>
                  <a:cubicBezTo>
                    <a:pt x="83" y="12"/>
                    <a:pt x="84" y="12"/>
                    <a:pt x="85" y="12"/>
                  </a:cubicBezTo>
                  <a:lnTo>
                    <a:pt x="135" y="1"/>
                  </a:lnTo>
                  <a:cubicBezTo>
                    <a:pt x="136" y="0"/>
                    <a:pt x="137" y="0"/>
                    <a:pt x="138" y="1"/>
                  </a:cubicBezTo>
                  <a:lnTo>
                    <a:pt x="188" y="12"/>
                  </a:lnTo>
                  <a:cubicBezTo>
                    <a:pt x="189" y="12"/>
                    <a:pt x="190" y="12"/>
                    <a:pt x="191" y="13"/>
                  </a:cubicBezTo>
                  <a:lnTo>
                    <a:pt x="232" y="42"/>
                  </a:lnTo>
                  <a:cubicBezTo>
                    <a:pt x="233" y="43"/>
                    <a:pt x="234" y="43"/>
                    <a:pt x="234" y="44"/>
                  </a:cubicBezTo>
                  <a:lnTo>
                    <a:pt x="261" y="87"/>
                  </a:lnTo>
                  <a:cubicBezTo>
                    <a:pt x="262" y="88"/>
                    <a:pt x="262" y="89"/>
                    <a:pt x="262" y="90"/>
                  </a:cubicBezTo>
                  <a:lnTo>
                    <a:pt x="272" y="143"/>
                  </a:lnTo>
                  <a:cubicBezTo>
                    <a:pt x="273" y="144"/>
                    <a:pt x="273" y="145"/>
                    <a:pt x="272" y="146"/>
                  </a:cubicBezTo>
                  <a:lnTo>
                    <a:pt x="262" y="199"/>
                  </a:lnTo>
                  <a:close/>
                </a:path>
              </a:pathLst>
            </a:custGeom>
            <a:solidFill>
              <a:srgbClr val="1A171B"/>
            </a:solidFill>
            <a:ln w="0" cap="flat">
              <a:solidFill>
                <a:srgbClr val="1A171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</p:grpSp>
      <p:sp>
        <p:nvSpPr>
          <p:cNvPr id="97" name="Text Box 44"/>
          <p:cNvSpPr txBox="1">
            <a:spLocks noChangeArrowheads="1"/>
          </p:cNvSpPr>
          <p:nvPr/>
        </p:nvSpPr>
        <p:spPr bwMode="auto">
          <a:xfrm>
            <a:off x="6903056" y="3338286"/>
            <a:ext cx="666694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800" b="1" dirty="0">
                <a:solidFill>
                  <a:schemeClr val="tx2">
                    <a:lumMod val="50000"/>
                  </a:schemeClr>
                </a:solidFill>
              </a:rPr>
              <a:t>Pear </a:t>
            </a:r>
          </a:p>
          <a:p>
            <a:pPr algn="ctr">
              <a:defRPr/>
            </a:pPr>
            <a:r>
              <a:rPr lang="en-US" sz="800" b="1" dirty="0">
                <a:solidFill>
                  <a:schemeClr val="tx2">
                    <a:lumMod val="50000"/>
                  </a:schemeClr>
                </a:solidFill>
              </a:rPr>
              <a:t>Review </a:t>
            </a:r>
            <a:endParaRPr lang="en-US" sz="800" b="1" dirty="0">
              <a:solidFill>
                <a:srgbClr val="40444B"/>
              </a:solidFill>
              <a:latin typeface="+mn-lt"/>
              <a:ea typeface="+mn-ea"/>
            </a:endParaRPr>
          </a:p>
        </p:txBody>
      </p:sp>
      <p:sp>
        <p:nvSpPr>
          <p:cNvPr id="110" name="Text Box 44"/>
          <p:cNvSpPr txBox="1">
            <a:spLocks noChangeArrowheads="1"/>
          </p:cNvSpPr>
          <p:nvPr/>
        </p:nvSpPr>
        <p:spPr bwMode="auto">
          <a:xfrm>
            <a:off x="7092280" y="4680480"/>
            <a:ext cx="1512168" cy="4616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200" b="1" dirty="0">
                <a:solidFill>
                  <a:srgbClr val="40444B"/>
                </a:solidFill>
                <a:latin typeface="+mn-lt"/>
                <a:ea typeface="+mn-ea"/>
              </a:rPr>
              <a:t>Continuous Integration (CI)</a:t>
            </a:r>
          </a:p>
        </p:txBody>
      </p:sp>
      <p:grpSp>
        <p:nvGrpSpPr>
          <p:cNvPr id="24" name="Group 11"/>
          <p:cNvGrpSpPr>
            <a:grpSpLocks/>
          </p:cNvGrpSpPr>
          <p:nvPr/>
        </p:nvGrpSpPr>
        <p:grpSpPr bwMode="auto">
          <a:xfrm>
            <a:off x="3535122" y="4944615"/>
            <a:ext cx="440843" cy="796008"/>
            <a:chOff x="975" y="845"/>
            <a:chExt cx="414" cy="889"/>
          </a:xfrm>
        </p:grpSpPr>
        <p:pic>
          <p:nvPicPr>
            <p:cNvPr id="114" name="Picture 8" descr="Binary Code Sm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975" y="845"/>
              <a:ext cx="293" cy="6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5" name="Picture 9" descr="Binary Code Sm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1044" y="981"/>
              <a:ext cx="293" cy="6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6" name="Picture 10" descr="Binary Code Sm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1096" y="1117"/>
              <a:ext cx="293" cy="6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17" name="Text Box 44"/>
          <p:cNvSpPr txBox="1">
            <a:spLocks noChangeArrowheads="1"/>
          </p:cNvSpPr>
          <p:nvPr/>
        </p:nvSpPr>
        <p:spPr bwMode="auto">
          <a:xfrm>
            <a:off x="3202075" y="5672585"/>
            <a:ext cx="1379974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000" b="1" dirty="0">
                <a:solidFill>
                  <a:srgbClr val="40444B"/>
                </a:solidFill>
                <a:latin typeface="+mn-lt"/>
                <a:ea typeface="+mn-ea"/>
              </a:rPr>
              <a:t>Review of </a:t>
            </a:r>
            <a:r>
              <a:rPr lang="en-US" sz="1000" b="1" dirty="0" err="1">
                <a:solidFill>
                  <a:srgbClr val="40444B"/>
                </a:solidFill>
                <a:latin typeface="+mn-lt"/>
                <a:ea typeface="+mn-ea"/>
              </a:rPr>
              <a:t>DoD</a:t>
            </a:r>
            <a:endParaRPr lang="en-US" sz="1000" b="1" dirty="0">
              <a:solidFill>
                <a:srgbClr val="40444B"/>
              </a:solidFill>
              <a:latin typeface="+mn-lt"/>
              <a:ea typeface="+mn-ea"/>
            </a:endParaRPr>
          </a:p>
          <a:p>
            <a:pPr algn="ctr">
              <a:defRPr/>
            </a:pPr>
            <a:r>
              <a:rPr lang="en-US" sz="1000" b="1" dirty="0">
                <a:solidFill>
                  <a:srgbClr val="40444B"/>
                </a:solidFill>
                <a:latin typeface="+mn-lt"/>
              </a:rPr>
              <a:t>(Definition of Done)</a:t>
            </a:r>
            <a:endParaRPr lang="en-US" sz="1000" b="1" dirty="0">
              <a:solidFill>
                <a:srgbClr val="40444B"/>
              </a:solidFill>
              <a:latin typeface="+mn-lt"/>
              <a:ea typeface="+mn-ea"/>
            </a:endParaRPr>
          </a:p>
        </p:txBody>
      </p:sp>
      <p:cxnSp>
        <p:nvCxnSpPr>
          <p:cNvPr id="119" name="Straight Arrow Connector 118"/>
          <p:cNvCxnSpPr/>
          <p:nvPr/>
        </p:nvCxnSpPr>
        <p:spPr>
          <a:xfrm flipV="1">
            <a:off x="750277" y="2278744"/>
            <a:ext cx="509117" cy="275771"/>
          </a:xfrm>
          <a:prstGeom prst="straightConnector1">
            <a:avLst/>
          </a:prstGeom>
          <a:ln>
            <a:solidFill>
              <a:schemeClr val="tx2"/>
            </a:solidFill>
            <a:prstDash val="solid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0" name="Picture 115" descr="Analysis"/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631200" y="2358120"/>
            <a:ext cx="360040" cy="370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1" name="TextBox 120"/>
          <p:cNvSpPr txBox="1"/>
          <p:nvPr/>
        </p:nvSpPr>
        <p:spPr>
          <a:xfrm>
            <a:off x="597686" y="2643925"/>
            <a:ext cx="111723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800" b="1" dirty="0">
                <a:solidFill>
                  <a:srgbClr val="40444B"/>
                </a:solidFill>
                <a:latin typeface="+mn-lt"/>
                <a:ea typeface="+mn-ea"/>
              </a:rPr>
              <a:t>Validation of Acceptance criteria</a:t>
            </a:r>
          </a:p>
        </p:txBody>
      </p:sp>
      <p:sp>
        <p:nvSpPr>
          <p:cNvPr id="122" name="Text Box 44"/>
          <p:cNvSpPr txBox="1">
            <a:spLocks noChangeArrowheads="1"/>
          </p:cNvSpPr>
          <p:nvPr/>
        </p:nvSpPr>
        <p:spPr bwMode="auto">
          <a:xfrm>
            <a:off x="-13395" y="1959428"/>
            <a:ext cx="1192404" cy="25391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050" b="1" dirty="0">
                <a:solidFill>
                  <a:srgbClr val="40444B"/>
                </a:solidFill>
                <a:latin typeface="+mn-lt"/>
                <a:ea typeface="+mn-ea"/>
              </a:rPr>
              <a:t>PO, BA</a:t>
            </a:r>
            <a:r>
              <a:rPr lang="en-US" sz="1050" b="1" dirty="0">
                <a:solidFill>
                  <a:srgbClr val="40444B"/>
                </a:solidFill>
                <a:latin typeface="+mn-lt"/>
              </a:rPr>
              <a:t>,</a:t>
            </a:r>
            <a:r>
              <a:rPr lang="en-US" sz="1050" b="1" dirty="0">
                <a:solidFill>
                  <a:srgbClr val="40444B"/>
                </a:solidFill>
                <a:latin typeface="+mn-lt"/>
                <a:ea typeface="+mn-ea"/>
              </a:rPr>
              <a:t> Test Lead</a:t>
            </a:r>
            <a:endParaRPr lang="en-US" sz="800" b="1" dirty="0">
              <a:solidFill>
                <a:srgbClr val="40444B"/>
              </a:solidFill>
              <a:latin typeface="+mn-lt"/>
              <a:ea typeface="+mn-ea"/>
            </a:endParaRPr>
          </a:p>
        </p:txBody>
      </p:sp>
      <p:pic>
        <p:nvPicPr>
          <p:cNvPr id="123" name="Picture 2" descr="D:\Project Data\MJ's Data\Assets\Pics And Logos\Human\SuccessfullDeveloper_0002.jpg"/>
          <p:cNvPicPr>
            <a:picLocks noChangeAspect="1" noChangeArrowheads="1"/>
          </p:cNvPicPr>
          <p:nvPr/>
        </p:nvPicPr>
        <p:blipFill>
          <a:blip r:embed="rId2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07357" y="5053392"/>
            <a:ext cx="756063" cy="614301"/>
          </a:xfrm>
          <a:prstGeom prst="rect">
            <a:avLst/>
          </a:prstGeom>
          <a:noFill/>
        </p:spPr>
      </p:pic>
      <p:pic>
        <p:nvPicPr>
          <p:cNvPr id="124" name="Picture 123" descr="Yellow User sm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0193" y="2248356"/>
            <a:ext cx="374091" cy="4905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5" name="Title 1"/>
          <p:cNvSpPr>
            <a:spLocks noGrp="1"/>
          </p:cNvSpPr>
          <p:nvPr>
            <p:ph type="title"/>
          </p:nvPr>
        </p:nvSpPr>
        <p:spPr>
          <a:xfrm>
            <a:off x="0" y="-1815"/>
            <a:ext cx="9144000" cy="754743"/>
          </a:xfrm>
        </p:spPr>
        <p:txBody>
          <a:bodyPr/>
          <a:lstStyle/>
          <a:p>
            <a:pPr algn="l"/>
            <a:r>
              <a:rPr lang="en-US" sz="2800" dirty="0"/>
              <a:t>   	Agile Engineering Practices</a:t>
            </a:r>
          </a:p>
        </p:txBody>
      </p:sp>
    </p:spTree>
    <p:extLst>
      <p:ext uri="{BB962C8B-B14F-4D97-AF65-F5344CB8AC3E}">
        <p14:creationId xmlns:p14="http://schemas.microsoft.com/office/powerpoint/2010/main" val="3806968413"/>
      </p:ext>
    </p:extLst>
  </p:cSld>
  <p:clrMapOvr>
    <a:masterClrMapping/>
  </p:clrMapOvr>
  <p:transition/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entagon 2"/>
          <p:cNvSpPr/>
          <p:nvPr/>
        </p:nvSpPr>
        <p:spPr>
          <a:xfrm>
            <a:off x="49327" y="1387439"/>
            <a:ext cx="1854377" cy="470386"/>
          </a:xfrm>
          <a:prstGeom prst="homePlat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Project Management</a:t>
            </a:r>
          </a:p>
        </p:txBody>
      </p:sp>
      <p:cxnSp>
        <p:nvCxnSpPr>
          <p:cNvPr id="4" name="Straight Connector 3"/>
          <p:cNvCxnSpPr/>
          <p:nvPr/>
        </p:nvCxnSpPr>
        <p:spPr>
          <a:xfrm flipH="1">
            <a:off x="1968869" y="1121544"/>
            <a:ext cx="0" cy="5320154"/>
          </a:xfrm>
          <a:prstGeom prst="line">
            <a:avLst/>
          </a:prstGeom>
          <a:ln w="254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 flipH="1">
            <a:off x="1968863" y="1929753"/>
            <a:ext cx="7005711" cy="0"/>
          </a:xfrm>
          <a:prstGeom prst="line">
            <a:avLst/>
          </a:prstGeom>
          <a:ln w="25400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3" descr="D:\Users\jsodani\Desktop\tool logos\150px-JIRA_logo_svg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82263" y="1223916"/>
            <a:ext cx="1058008" cy="573088"/>
          </a:xfrm>
          <a:prstGeom prst="rect">
            <a:avLst/>
          </a:prstGeom>
          <a:noFill/>
        </p:spPr>
      </p:pic>
      <p:pic>
        <p:nvPicPr>
          <p:cNvPr id="7" name="Picture 6"/>
          <p:cNvPicPr/>
          <p:nvPr/>
        </p:nvPicPr>
        <p:blipFill>
          <a:blip r:embed="rId3" cstate="print"/>
          <a:srcRect l="45114" t="54474" r="50820" b="44236"/>
          <a:stretch>
            <a:fillRect/>
          </a:stretch>
        </p:blipFill>
        <p:spPr bwMode="auto">
          <a:xfrm>
            <a:off x="3508171" y="1365824"/>
            <a:ext cx="1160586" cy="342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3" descr="D:\Users\mudjain\Desktop\Pics\download (11)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EFF"/>
              </a:clrFrom>
              <a:clrTo>
                <a:srgbClr val="FFFE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116478" y="2163196"/>
            <a:ext cx="770153" cy="347638"/>
          </a:xfrm>
          <a:prstGeom prst="rect">
            <a:avLst/>
          </a:prstGeom>
          <a:noFill/>
        </p:spPr>
      </p:pic>
      <p:pic>
        <p:nvPicPr>
          <p:cNvPr id="10" name="Picture 3" descr="D:\Users\jsodani\Desktop\tool logos\perforce.bmp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083803" y="2088127"/>
            <a:ext cx="930035" cy="453737"/>
          </a:xfrm>
          <a:prstGeom prst="rect">
            <a:avLst/>
          </a:prstGeom>
          <a:noFill/>
        </p:spPr>
      </p:pic>
      <p:pic>
        <p:nvPicPr>
          <p:cNvPr id="11" name="Picture 2" descr="D:\Users\jsodani\Desktop\tool logos\svn-square.jpg"/>
          <p:cNvPicPr>
            <a:picLocks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243050" y="2204225"/>
            <a:ext cx="379801" cy="278241"/>
          </a:xfrm>
          <a:prstGeom prst="rect">
            <a:avLst/>
          </a:prstGeom>
          <a:noFill/>
        </p:spPr>
      </p:pic>
      <p:sp>
        <p:nvSpPr>
          <p:cNvPr id="12" name="TextBox 11"/>
          <p:cNvSpPr txBox="1"/>
          <p:nvPr/>
        </p:nvSpPr>
        <p:spPr>
          <a:xfrm>
            <a:off x="4702629" y="2235206"/>
            <a:ext cx="4921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SVN</a:t>
            </a:r>
          </a:p>
        </p:txBody>
      </p:sp>
      <p:cxnSp>
        <p:nvCxnSpPr>
          <p:cNvPr id="13" name="Straight Connector 12"/>
          <p:cNvCxnSpPr/>
          <p:nvPr/>
        </p:nvCxnSpPr>
        <p:spPr>
          <a:xfrm flipH="1">
            <a:off x="1975564" y="2571019"/>
            <a:ext cx="7005711" cy="0"/>
          </a:xfrm>
          <a:prstGeom prst="line">
            <a:avLst/>
          </a:prstGeom>
          <a:ln w="25400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H="1">
            <a:off x="1973125" y="3205035"/>
            <a:ext cx="7005711" cy="0"/>
          </a:xfrm>
          <a:prstGeom prst="line">
            <a:avLst/>
          </a:prstGeom>
          <a:ln w="25400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7" descr="D:\Users\jsodani\Desktop\tool logos\maven.gif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060182" y="2682362"/>
            <a:ext cx="857590" cy="414074"/>
          </a:xfrm>
          <a:prstGeom prst="rect">
            <a:avLst/>
          </a:prstGeom>
          <a:noFill/>
        </p:spPr>
      </p:pic>
      <p:pic>
        <p:nvPicPr>
          <p:cNvPr id="21" name="Picture 3" descr="D:\Users\jsodani\Desktop\tool logos\Gradle.jpg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145886" y="2787521"/>
            <a:ext cx="1011086" cy="262512"/>
          </a:xfrm>
          <a:prstGeom prst="rect">
            <a:avLst/>
          </a:prstGeom>
          <a:noFill/>
        </p:spPr>
      </p:pic>
      <p:pic>
        <p:nvPicPr>
          <p:cNvPr id="22" name="Picture 3" descr="D:\Users\jsodani\Desktop\tool logos\230px-Jenkins_logo_with_title_svg.pn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100422" y="3339152"/>
            <a:ext cx="914085" cy="340418"/>
          </a:xfrm>
          <a:prstGeom prst="rect">
            <a:avLst/>
          </a:prstGeom>
          <a:noFill/>
        </p:spPr>
      </p:pic>
      <p:pic>
        <p:nvPicPr>
          <p:cNvPr id="23" name="Picture 22" descr="D:\Users\mudjain\Desktop\Pics\bamboo_logo_landing.pn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4740115" y="3416642"/>
            <a:ext cx="1017287" cy="315726"/>
          </a:xfrm>
          <a:prstGeom prst="rect">
            <a:avLst/>
          </a:prstGeom>
          <a:noFill/>
        </p:spPr>
      </p:pic>
      <p:pic>
        <p:nvPicPr>
          <p:cNvPr id="24" name="Picture 4" descr="D:\Users\mudjain\Desktop\images (7).jpg"/>
          <p:cNvPicPr>
            <a:picLocks noChangeAspect="1" noChangeArrowheads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303167" y="3401015"/>
            <a:ext cx="1258899" cy="304986"/>
          </a:xfrm>
          <a:prstGeom prst="rect">
            <a:avLst/>
          </a:prstGeom>
          <a:noFill/>
        </p:spPr>
      </p:pic>
      <p:pic>
        <p:nvPicPr>
          <p:cNvPr id="25" name="Picture 8" descr="D:\Users\jsodani\Desktop\tool logos\nexus.pn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2852761" y="3995191"/>
            <a:ext cx="645893" cy="296679"/>
          </a:xfrm>
          <a:prstGeom prst="rect">
            <a:avLst/>
          </a:prstGeom>
          <a:noFill/>
        </p:spPr>
      </p:pic>
      <p:pic>
        <p:nvPicPr>
          <p:cNvPr id="26" name="Picture 2" descr="D:\Users\mudjain\Desktop\Pics\download (3).png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3766610" y="4002903"/>
            <a:ext cx="1231989" cy="265339"/>
          </a:xfrm>
          <a:prstGeom prst="rect">
            <a:avLst/>
          </a:prstGeom>
          <a:noFill/>
        </p:spPr>
      </p:pic>
      <p:pic>
        <p:nvPicPr>
          <p:cNvPr id="27" name="Picture 3" descr="D:\Users\mudjain\Desktop\Pics\download (13).jpg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2113350" y="3886911"/>
            <a:ext cx="515075" cy="526596"/>
          </a:xfrm>
          <a:prstGeom prst="rect">
            <a:avLst/>
          </a:prstGeom>
          <a:noFill/>
        </p:spPr>
      </p:pic>
      <p:cxnSp>
        <p:nvCxnSpPr>
          <p:cNvPr id="28" name="Straight Connector 27"/>
          <p:cNvCxnSpPr/>
          <p:nvPr/>
        </p:nvCxnSpPr>
        <p:spPr>
          <a:xfrm flipH="1">
            <a:off x="1962167" y="3869336"/>
            <a:ext cx="7005711" cy="0"/>
          </a:xfrm>
          <a:prstGeom prst="line">
            <a:avLst/>
          </a:prstGeom>
          <a:ln w="25400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 flipH="1">
            <a:off x="1968868" y="4533040"/>
            <a:ext cx="7005711" cy="0"/>
          </a:xfrm>
          <a:prstGeom prst="line">
            <a:avLst/>
          </a:prstGeom>
          <a:ln w="25400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 flipH="1">
            <a:off x="1966429" y="5198061"/>
            <a:ext cx="7005711" cy="0"/>
          </a:xfrm>
          <a:prstGeom prst="line">
            <a:avLst/>
          </a:prstGeom>
          <a:ln w="25400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7" descr="D:\Users\jsodani\Desktop\tool logos\sonar.png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4102051" y="4568088"/>
            <a:ext cx="905608" cy="342900"/>
          </a:xfrm>
          <a:prstGeom prst="rect">
            <a:avLst/>
          </a:prstGeom>
          <a:noFill/>
        </p:spPr>
      </p:pic>
      <p:pic>
        <p:nvPicPr>
          <p:cNvPr id="32" name="Picture 4" descr="D:\Users\jsodani\Desktop\tool logos\castLogo.png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2140263" y="4650162"/>
            <a:ext cx="658860" cy="304335"/>
          </a:xfrm>
          <a:prstGeom prst="rect">
            <a:avLst/>
          </a:prstGeom>
          <a:noFill/>
        </p:spPr>
      </p:pic>
      <p:pic>
        <p:nvPicPr>
          <p:cNvPr id="33" name="Picture 6" descr="D:\Users\jsodani\Desktop\tool logos\pmd_logo.png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3179028" y="4585383"/>
            <a:ext cx="642651" cy="328211"/>
          </a:xfrm>
          <a:prstGeom prst="rect">
            <a:avLst/>
          </a:prstGeom>
          <a:noFill/>
        </p:spPr>
      </p:pic>
      <p:sp>
        <p:nvSpPr>
          <p:cNvPr id="34" name="Pentagon 33"/>
          <p:cNvSpPr/>
          <p:nvPr/>
        </p:nvSpPr>
        <p:spPr>
          <a:xfrm>
            <a:off x="42631" y="2021251"/>
            <a:ext cx="1854377" cy="470386"/>
          </a:xfrm>
          <a:prstGeom prst="homePlat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SCM </a:t>
            </a:r>
          </a:p>
          <a:p>
            <a:pPr algn="ctr"/>
            <a:r>
              <a:rPr lang="en-US" sz="1200" b="1" dirty="0">
                <a:solidFill>
                  <a:schemeClr val="bg1"/>
                </a:solidFill>
              </a:rPr>
              <a:t>(code repository)</a:t>
            </a:r>
          </a:p>
        </p:txBody>
      </p:sp>
      <p:sp>
        <p:nvSpPr>
          <p:cNvPr id="35" name="Pentagon 34"/>
          <p:cNvSpPr/>
          <p:nvPr/>
        </p:nvSpPr>
        <p:spPr>
          <a:xfrm>
            <a:off x="56029" y="2655063"/>
            <a:ext cx="1854377" cy="470386"/>
          </a:xfrm>
          <a:prstGeom prst="homePlat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Build</a:t>
            </a:r>
          </a:p>
        </p:txBody>
      </p:sp>
      <p:sp>
        <p:nvSpPr>
          <p:cNvPr id="36" name="Pentagon 35"/>
          <p:cNvSpPr/>
          <p:nvPr/>
        </p:nvSpPr>
        <p:spPr>
          <a:xfrm>
            <a:off x="42631" y="3288875"/>
            <a:ext cx="1854377" cy="470386"/>
          </a:xfrm>
          <a:prstGeom prst="homePlat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Continuous Integration</a:t>
            </a:r>
          </a:p>
        </p:txBody>
      </p:sp>
      <p:sp>
        <p:nvSpPr>
          <p:cNvPr id="37" name="Pentagon 36"/>
          <p:cNvSpPr/>
          <p:nvPr/>
        </p:nvSpPr>
        <p:spPr>
          <a:xfrm>
            <a:off x="56029" y="3922687"/>
            <a:ext cx="1854377" cy="470386"/>
          </a:xfrm>
          <a:prstGeom prst="homePlat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Artifact management</a:t>
            </a:r>
          </a:p>
        </p:txBody>
      </p:sp>
      <p:sp>
        <p:nvSpPr>
          <p:cNvPr id="38" name="Pentagon 37"/>
          <p:cNvSpPr/>
          <p:nvPr/>
        </p:nvSpPr>
        <p:spPr>
          <a:xfrm>
            <a:off x="76128" y="4556499"/>
            <a:ext cx="1854377" cy="470386"/>
          </a:xfrm>
          <a:prstGeom prst="homePlat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Code quality &amp; review</a:t>
            </a:r>
          </a:p>
        </p:txBody>
      </p:sp>
      <p:pic>
        <p:nvPicPr>
          <p:cNvPr id="39" name="Picture 2" descr="D:\Users\mudjain\Desktop\images (2).jpg"/>
          <p:cNvPicPr>
            <a:picLocks noChangeAspect="1" noChangeArrowheads="1"/>
          </p:cNvPicPr>
          <p:nvPr/>
        </p:nvPicPr>
        <p:blipFill>
          <a:blip r:embed="rId1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17059"/>
          <a:stretch>
            <a:fillRect/>
          </a:stretch>
        </p:blipFill>
        <p:spPr bwMode="auto">
          <a:xfrm>
            <a:off x="2256295" y="5278565"/>
            <a:ext cx="624491" cy="571204"/>
          </a:xfrm>
          <a:prstGeom prst="rect">
            <a:avLst/>
          </a:prstGeom>
          <a:noFill/>
        </p:spPr>
      </p:pic>
      <p:pic>
        <p:nvPicPr>
          <p:cNvPr id="40" name="Picture 1" descr="D:\Users\jsodani\Desktop\tool logos\JUnit.bmp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3265082" y="5406795"/>
            <a:ext cx="648765" cy="323563"/>
          </a:xfrm>
          <a:prstGeom prst="rect">
            <a:avLst/>
          </a:prstGeom>
          <a:noFill/>
        </p:spPr>
      </p:pic>
      <p:pic>
        <p:nvPicPr>
          <p:cNvPr id="41" name="Picture 4" descr="D:\Users\jsodani\Desktop\tool logos\testNG.jpg"/>
          <p:cNvPicPr>
            <a:picLocks noChangeAspect="1" noChangeArrowheads="1"/>
          </p:cNvPicPr>
          <p:nvPr/>
        </p:nvPicPr>
        <p:blipFill>
          <a:blip r:embed="rId2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262679" y="5228313"/>
            <a:ext cx="666582" cy="449262"/>
          </a:xfrm>
          <a:prstGeom prst="rect">
            <a:avLst/>
          </a:prstGeom>
          <a:noFill/>
        </p:spPr>
      </p:pic>
      <p:sp>
        <p:nvSpPr>
          <p:cNvPr id="42" name="Pentagon 41"/>
          <p:cNvSpPr/>
          <p:nvPr/>
        </p:nvSpPr>
        <p:spPr>
          <a:xfrm>
            <a:off x="121187" y="5190311"/>
            <a:ext cx="1854377" cy="470386"/>
          </a:xfrm>
          <a:prstGeom prst="homePlat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Unit and Automation Testing</a:t>
            </a:r>
          </a:p>
        </p:txBody>
      </p:sp>
      <p:sp>
        <p:nvSpPr>
          <p:cNvPr id="43" name="Title 1"/>
          <p:cNvSpPr>
            <a:spLocks noGrp="1"/>
          </p:cNvSpPr>
          <p:nvPr>
            <p:ph type="title"/>
          </p:nvPr>
        </p:nvSpPr>
        <p:spPr>
          <a:xfrm>
            <a:off x="0" y="-1815"/>
            <a:ext cx="9144000" cy="754743"/>
          </a:xfrm>
        </p:spPr>
        <p:txBody>
          <a:bodyPr/>
          <a:lstStyle/>
          <a:p>
            <a:pPr algn="l"/>
            <a:r>
              <a:rPr lang="en-US" sz="2800" dirty="0"/>
              <a:t>  	 Agile Engineering Practices:  Suggested Tools </a:t>
            </a:r>
          </a:p>
        </p:txBody>
      </p:sp>
      <p:sp>
        <p:nvSpPr>
          <p:cNvPr id="44" name="Pentagon 43"/>
          <p:cNvSpPr/>
          <p:nvPr/>
        </p:nvSpPr>
        <p:spPr>
          <a:xfrm>
            <a:off x="133972" y="5824122"/>
            <a:ext cx="1854377" cy="470386"/>
          </a:xfrm>
          <a:prstGeom prst="homePlat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Rapid Prototyping</a:t>
            </a:r>
          </a:p>
        </p:txBody>
      </p:sp>
      <p:cxnSp>
        <p:nvCxnSpPr>
          <p:cNvPr id="45" name="Straight Connector 44"/>
          <p:cNvCxnSpPr/>
          <p:nvPr/>
        </p:nvCxnSpPr>
        <p:spPr>
          <a:xfrm flipH="1">
            <a:off x="2043160" y="5863096"/>
            <a:ext cx="7005711" cy="0"/>
          </a:xfrm>
          <a:prstGeom prst="line">
            <a:avLst/>
          </a:prstGeom>
          <a:ln w="25400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8770" name="Picture 3" descr="image002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6294" y="5936209"/>
            <a:ext cx="661478" cy="3583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58304876"/>
      </p:ext>
    </p:extLst>
  </p:cSld>
  <p:clrMapOvr>
    <a:masterClrMapping/>
  </p:clrMapOvr>
  <p:transition/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3126997"/>
            <a:ext cx="9144000" cy="949703"/>
          </a:xfrm>
          <a:prstGeom prst="rect">
            <a:avLst/>
          </a:prstGeom>
          <a:solidFill>
            <a:schemeClr val="accent3">
              <a:lumMod val="20000"/>
              <a:lumOff val="80000"/>
              <a:alpha val="48000"/>
            </a:schemeClr>
          </a:solidFill>
          <a:ln>
            <a:solidFill>
              <a:schemeClr val="accent3">
                <a:lumMod val="20000"/>
                <a:lumOff val="80000"/>
                <a:alpha val="48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918845" y="1882678"/>
            <a:ext cx="67311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chemeClr val="tx2">
                    <a:lumMod val="50000"/>
                  </a:schemeClr>
                </a:solidFill>
              </a:rPr>
              <a:t>2016…</a:t>
            </a:r>
          </a:p>
        </p:txBody>
      </p:sp>
      <p:grpSp>
        <p:nvGrpSpPr>
          <p:cNvPr id="2" name="Group 4"/>
          <p:cNvGrpSpPr/>
          <p:nvPr/>
        </p:nvGrpSpPr>
        <p:grpSpPr>
          <a:xfrm>
            <a:off x="1155684" y="1999084"/>
            <a:ext cx="7817545" cy="230832"/>
            <a:chOff x="104172" y="2583947"/>
            <a:chExt cx="9614901" cy="291643"/>
          </a:xfrm>
        </p:grpSpPr>
        <p:sp>
          <p:nvSpPr>
            <p:cNvPr id="6" name="Rectangle 5"/>
            <p:cNvSpPr/>
            <p:nvPr/>
          </p:nvSpPr>
          <p:spPr>
            <a:xfrm>
              <a:off x="115743" y="2673756"/>
              <a:ext cx="5243335" cy="162041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>
              <a:solidFill>
                <a:schemeClr val="bg2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endParaRPr lang="en-US" sz="2000" dirty="0" err="1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5370653" y="2675686"/>
              <a:ext cx="4328933" cy="171686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endParaRPr lang="en-US" sz="2000" dirty="0" err="1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cxnSp>
          <p:nvCxnSpPr>
            <p:cNvPr id="8" name="Straight Connector 7"/>
            <p:cNvCxnSpPr/>
            <p:nvPr/>
          </p:nvCxnSpPr>
          <p:spPr>
            <a:xfrm>
              <a:off x="979452" y="2658307"/>
              <a:ext cx="0" cy="150471"/>
            </a:xfrm>
            <a:prstGeom prst="line">
              <a:avLst/>
            </a:prstGeom>
            <a:ln w="38100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1852836" y="2658307"/>
              <a:ext cx="0" cy="150471"/>
            </a:xfrm>
            <a:prstGeom prst="line">
              <a:avLst/>
            </a:prstGeom>
            <a:ln w="38100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>
              <a:off x="2726220" y="2658307"/>
              <a:ext cx="0" cy="150471"/>
            </a:xfrm>
            <a:prstGeom prst="line">
              <a:avLst/>
            </a:prstGeom>
            <a:ln w="38100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>
              <a:off x="3599604" y="2658307"/>
              <a:ext cx="0" cy="150471"/>
            </a:xfrm>
            <a:prstGeom prst="line">
              <a:avLst/>
            </a:prstGeom>
            <a:ln w="38100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>
              <a:off x="4472988" y="2658307"/>
              <a:ext cx="0" cy="150471"/>
            </a:xfrm>
            <a:prstGeom prst="line">
              <a:avLst/>
            </a:prstGeom>
            <a:ln w="38100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12"/>
            <p:cNvSpPr txBox="1"/>
            <p:nvPr/>
          </p:nvSpPr>
          <p:spPr>
            <a:xfrm>
              <a:off x="104172" y="2583947"/>
              <a:ext cx="879676" cy="291643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tx2">
                      <a:lumMod val="50000"/>
                    </a:schemeClr>
                  </a:solidFill>
                </a:rPr>
                <a:t>Feb</a:t>
              </a:r>
            </a:p>
          </p:txBody>
        </p:sp>
        <p:cxnSp>
          <p:nvCxnSpPr>
            <p:cNvPr id="14" name="Straight Connector 13"/>
            <p:cNvCxnSpPr/>
            <p:nvPr/>
          </p:nvCxnSpPr>
          <p:spPr>
            <a:xfrm>
              <a:off x="6219756" y="2658307"/>
              <a:ext cx="0" cy="150471"/>
            </a:xfrm>
            <a:prstGeom prst="line">
              <a:avLst/>
            </a:prstGeom>
            <a:ln w="38100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>
              <a:off x="7093140" y="2658307"/>
              <a:ext cx="0" cy="150471"/>
            </a:xfrm>
            <a:prstGeom prst="line">
              <a:avLst/>
            </a:prstGeom>
            <a:ln w="38100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>
              <a:off x="7966524" y="2658307"/>
              <a:ext cx="0" cy="150471"/>
            </a:xfrm>
            <a:prstGeom prst="line">
              <a:avLst/>
            </a:prstGeom>
            <a:ln w="38100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>
              <a:off x="8839908" y="2658307"/>
              <a:ext cx="0" cy="150471"/>
            </a:xfrm>
            <a:prstGeom prst="line">
              <a:avLst/>
            </a:prstGeom>
            <a:ln w="38100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106068" y="2658307"/>
              <a:ext cx="0" cy="150471"/>
            </a:xfrm>
            <a:prstGeom prst="line">
              <a:avLst/>
            </a:prstGeom>
            <a:ln w="38100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9713293" y="2658307"/>
              <a:ext cx="0" cy="150471"/>
            </a:xfrm>
            <a:prstGeom prst="line">
              <a:avLst/>
            </a:prstGeom>
            <a:ln w="38100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>
              <a:off x="5346372" y="2658307"/>
              <a:ext cx="0" cy="150471"/>
            </a:xfrm>
            <a:prstGeom prst="line">
              <a:avLst/>
            </a:prstGeom>
            <a:ln w="38100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/>
          </p:nvSpPr>
          <p:spPr>
            <a:xfrm>
              <a:off x="974222" y="2583947"/>
              <a:ext cx="879676" cy="291643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tx2">
                      <a:lumMod val="50000"/>
                    </a:schemeClr>
                  </a:solidFill>
                </a:rPr>
                <a:t>March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1844272" y="2583947"/>
              <a:ext cx="879676" cy="291643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tx2">
                      <a:lumMod val="50000"/>
                    </a:schemeClr>
                  </a:solidFill>
                </a:rPr>
                <a:t>April</a:t>
              </a: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2725898" y="2583947"/>
              <a:ext cx="879676" cy="291643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tx2">
                      <a:lumMod val="50000"/>
                    </a:schemeClr>
                  </a:solidFill>
                </a:rPr>
                <a:t>May</a:t>
              </a: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3595947" y="2583947"/>
              <a:ext cx="879676" cy="291643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tx2">
                      <a:lumMod val="50000"/>
                    </a:schemeClr>
                  </a:solidFill>
                </a:rPr>
                <a:t>June</a:t>
              </a: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4477572" y="2583947"/>
              <a:ext cx="879676" cy="291643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tx2">
                      <a:lumMod val="50000"/>
                    </a:schemeClr>
                  </a:solidFill>
                </a:rPr>
                <a:t>July</a:t>
              </a: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5336048" y="2583947"/>
              <a:ext cx="879676" cy="291643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tx2">
                      <a:lumMod val="50000"/>
                    </a:schemeClr>
                  </a:solidFill>
                </a:rPr>
                <a:t>August</a:t>
              </a: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6206097" y="2583947"/>
              <a:ext cx="879676" cy="291643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tx2">
                      <a:lumMod val="50000"/>
                    </a:schemeClr>
                  </a:solidFill>
                </a:rPr>
                <a:t>September</a:t>
              </a: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7087722" y="2583947"/>
              <a:ext cx="879676" cy="291643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tx2">
                      <a:lumMod val="50000"/>
                    </a:schemeClr>
                  </a:solidFill>
                </a:rPr>
                <a:t>October</a:t>
              </a: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7957772" y="2583947"/>
              <a:ext cx="879676" cy="291643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tx2">
                      <a:lumMod val="50000"/>
                    </a:schemeClr>
                  </a:solidFill>
                </a:rPr>
                <a:t>November</a:t>
              </a: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8839397" y="2583947"/>
              <a:ext cx="879676" cy="291643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tx2">
                      <a:lumMod val="50000"/>
                    </a:schemeClr>
                  </a:solidFill>
                </a:rPr>
                <a:t>December</a:t>
              </a:r>
            </a:p>
          </p:txBody>
        </p:sp>
      </p:grpSp>
      <p:sp>
        <p:nvSpPr>
          <p:cNvPr id="39" name="5-Point Star 38"/>
          <p:cNvSpPr/>
          <p:nvPr/>
        </p:nvSpPr>
        <p:spPr>
          <a:xfrm>
            <a:off x="2012764" y="2559192"/>
            <a:ext cx="111076" cy="126229"/>
          </a:xfrm>
          <a:prstGeom prst="star5">
            <a:avLst/>
          </a:prstGeom>
          <a:solidFill>
            <a:srgbClr val="00B050"/>
          </a:solidFill>
          <a:ln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353683" y="3356633"/>
            <a:ext cx="94111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b="1" dirty="0">
                <a:solidFill>
                  <a:srgbClr val="00B050"/>
                </a:solidFill>
              </a:rPr>
              <a:t>Readiness and Maturity Assessment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2222335" y="3358557"/>
            <a:ext cx="121801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600" b="1" dirty="0">
                <a:solidFill>
                  <a:srgbClr val="00B050"/>
                </a:solidFill>
              </a:rPr>
              <a:t>Achieve Continuous Integration for Pilot Team</a:t>
            </a:r>
          </a:p>
          <a:p>
            <a:pPr>
              <a:buFont typeface="Arial" pitchFamily="34" charset="0"/>
              <a:buChar char="•"/>
            </a:pPr>
            <a:r>
              <a:rPr lang="en-US" sz="600" b="1" dirty="0">
                <a:solidFill>
                  <a:srgbClr val="00B050"/>
                </a:solidFill>
              </a:rPr>
              <a:t>Auto code quality tool (Sonar) set up for Pilot Projects</a:t>
            </a:r>
          </a:p>
          <a:p>
            <a:pPr>
              <a:buFont typeface="Arial" pitchFamily="34" charset="0"/>
              <a:buChar char="•"/>
            </a:pPr>
            <a:r>
              <a:rPr lang="en-US" sz="600" b="1" dirty="0">
                <a:solidFill>
                  <a:srgbClr val="00B050"/>
                </a:solidFill>
              </a:rPr>
              <a:t> JIRA for Scrum management</a:t>
            </a:r>
          </a:p>
        </p:txBody>
      </p:sp>
      <p:sp>
        <p:nvSpPr>
          <p:cNvPr id="47" name="5-Point Star 46"/>
          <p:cNvSpPr/>
          <p:nvPr/>
        </p:nvSpPr>
        <p:spPr>
          <a:xfrm>
            <a:off x="2764338" y="4376297"/>
            <a:ext cx="111076" cy="126229"/>
          </a:xfrm>
          <a:prstGeom prst="star5">
            <a:avLst/>
          </a:prstGeom>
          <a:solidFill>
            <a:srgbClr val="00B050"/>
          </a:solidFill>
          <a:ln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4425427" y="3429088"/>
            <a:ext cx="15919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600" b="1" dirty="0">
                <a:solidFill>
                  <a:srgbClr val="00B050"/>
                </a:solidFill>
              </a:rPr>
              <a:t>20% decrease in technical debt</a:t>
            </a:r>
          </a:p>
          <a:p>
            <a:pPr>
              <a:buFont typeface="Arial" pitchFamily="34" charset="0"/>
              <a:buChar char="•"/>
            </a:pPr>
            <a:r>
              <a:rPr lang="en-US" sz="600" b="1">
                <a:solidFill>
                  <a:srgbClr val="00B050"/>
                </a:solidFill>
              </a:rPr>
              <a:t>40</a:t>
            </a:r>
            <a:r>
              <a:rPr lang="en-US" sz="600" b="1" dirty="0">
                <a:solidFill>
                  <a:srgbClr val="00B050"/>
                </a:solidFill>
              </a:rPr>
              <a:t>% functional automation of new development</a:t>
            </a:r>
          </a:p>
        </p:txBody>
      </p:sp>
      <p:sp>
        <p:nvSpPr>
          <p:cNvPr id="56" name="Rectangle 55"/>
          <p:cNvSpPr/>
          <p:nvPr/>
        </p:nvSpPr>
        <p:spPr>
          <a:xfrm>
            <a:off x="0" y="2324723"/>
            <a:ext cx="9144000" cy="751853"/>
          </a:xfrm>
          <a:prstGeom prst="rect">
            <a:avLst/>
          </a:prstGeom>
          <a:solidFill>
            <a:schemeClr val="accent5">
              <a:lumMod val="20000"/>
              <a:lumOff val="80000"/>
              <a:alpha val="48000"/>
            </a:schemeClr>
          </a:solidFill>
          <a:ln>
            <a:solidFill>
              <a:schemeClr val="accent5">
                <a:lumMod val="20000"/>
                <a:lumOff val="80000"/>
                <a:alpha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0" y="2449827"/>
            <a:ext cx="142101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dirty="0">
                <a:solidFill>
                  <a:schemeClr val="tx2">
                    <a:lumMod val="50000"/>
                  </a:schemeClr>
                </a:solidFill>
              </a:rPr>
              <a:t>Individual</a:t>
            </a:r>
          </a:p>
        </p:txBody>
      </p:sp>
      <p:sp>
        <p:nvSpPr>
          <p:cNvPr id="60" name="Rounded Rectangle 59"/>
          <p:cNvSpPr/>
          <p:nvPr/>
        </p:nvSpPr>
        <p:spPr>
          <a:xfrm>
            <a:off x="1493371" y="2370856"/>
            <a:ext cx="4670037" cy="210420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gile For Developers Trainings / Certifications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61" name="5-Point Star 60"/>
          <p:cNvSpPr/>
          <p:nvPr/>
        </p:nvSpPr>
        <p:spPr>
          <a:xfrm>
            <a:off x="5200261" y="2535922"/>
            <a:ext cx="111076" cy="126229"/>
          </a:xfrm>
          <a:prstGeom prst="star5">
            <a:avLst/>
          </a:prstGeom>
          <a:solidFill>
            <a:srgbClr val="00B050"/>
          </a:solidFill>
          <a:ln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2" name="5-Point Star 61"/>
          <p:cNvSpPr/>
          <p:nvPr/>
        </p:nvSpPr>
        <p:spPr>
          <a:xfrm>
            <a:off x="3374945" y="2588372"/>
            <a:ext cx="111076" cy="126229"/>
          </a:xfrm>
          <a:prstGeom prst="star5">
            <a:avLst/>
          </a:prstGeom>
          <a:solidFill>
            <a:srgbClr val="00B050"/>
          </a:solidFill>
          <a:ln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7141458" y="3364338"/>
            <a:ext cx="138708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600" b="1" dirty="0">
                <a:solidFill>
                  <a:srgbClr val="00B050"/>
                </a:solidFill>
              </a:rPr>
              <a:t> 100% functional automation of new development</a:t>
            </a:r>
          </a:p>
          <a:p>
            <a:pPr>
              <a:buFont typeface="Arial" pitchFamily="34" charset="0"/>
              <a:buChar char="•"/>
            </a:pPr>
            <a:r>
              <a:rPr lang="en-US" sz="600" b="1" dirty="0">
                <a:solidFill>
                  <a:srgbClr val="00B050"/>
                </a:solidFill>
              </a:rPr>
              <a:t> 60% decrease in technical debt</a:t>
            </a:r>
          </a:p>
          <a:p>
            <a:pPr>
              <a:buFont typeface="Arial" pitchFamily="34" charset="0"/>
              <a:buChar char="•"/>
            </a:pPr>
            <a:r>
              <a:rPr lang="en-US" sz="600" b="1" dirty="0">
                <a:solidFill>
                  <a:srgbClr val="00B050"/>
                </a:solidFill>
              </a:rPr>
              <a:t> Continuous delivery pipeline for all towers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0" y="2092934"/>
            <a:ext cx="119664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chemeClr val="tx2">
                    <a:lumMod val="50000"/>
                  </a:schemeClr>
                </a:solidFill>
              </a:rPr>
              <a:t>Agile Adoption For</a:t>
            </a:r>
          </a:p>
        </p:txBody>
      </p:sp>
      <p:cxnSp>
        <p:nvCxnSpPr>
          <p:cNvPr id="76" name="Straight Arrow Connector 75"/>
          <p:cNvCxnSpPr/>
          <p:nvPr/>
        </p:nvCxnSpPr>
        <p:spPr>
          <a:xfrm>
            <a:off x="1072343" y="2159306"/>
            <a:ext cx="0" cy="150471"/>
          </a:xfrm>
          <a:prstGeom prst="straightConnector1">
            <a:avLst/>
          </a:prstGeom>
          <a:ln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Box 76"/>
          <p:cNvSpPr txBox="1"/>
          <p:nvPr/>
        </p:nvSpPr>
        <p:spPr>
          <a:xfrm>
            <a:off x="5661727" y="3411963"/>
            <a:ext cx="15367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600" b="1" dirty="0">
                <a:solidFill>
                  <a:srgbClr val="00B050"/>
                </a:solidFill>
              </a:rPr>
              <a:t>  40% decrease in technical debt</a:t>
            </a:r>
          </a:p>
          <a:p>
            <a:pPr>
              <a:buFont typeface="Arial" pitchFamily="34" charset="0"/>
              <a:buChar char="•"/>
            </a:pPr>
            <a:r>
              <a:rPr lang="en-US" sz="600" b="1" dirty="0">
                <a:solidFill>
                  <a:srgbClr val="00B050"/>
                </a:solidFill>
              </a:rPr>
              <a:t>  60% functional automation of new development</a:t>
            </a:r>
          </a:p>
        </p:txBody>
      </p:sp>
      <p:sp>
        <p:nvSpPr>
          <p:cNvPr id="78" name="Rectangle 77"/>
          <p:cNvSpPr/>
          <p:nvPr/>
        </p:nvSpPr>
        <p:spPr>
          <a:xfrm>
            <a:off x="9906" y="4165768"/>
            <a:ext cx="9144000" cy="889318"/>
          </a:xfrm>
          <a:prstGeom prst="rect">
            <a:avLst/>
          </a:prstGeom>
          <a:solidFill>
            <a:schemeClr val="tx1">
              <a:lumMod val="20000"/>
              <a:lumOff val="80000"/>
              <a:alpha val="48000"/>
            </a:schemeClr>
          </a:solidFill>
          <a:ln>
            <a:solidFill>
              <a:schemeClr val="accent3">
                <a:lumMod val="20000"/>
                <a:lumOff val="80000"/>
                <a:alpha val="48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9906" y="4302255"/>
            <a:ext cx="142101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dirty="0">
                <a:solidFill>
                  <a:schemeClr val="tx2">
                    <a:lumMod val="50000"/>
                  </a:schemeClr>
                </a:solidFill>
              </a:rPr>
              <a:t>Team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22367" y="4489380"/>
            <a:ext cx="142101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>
                <a:solidFill>
                  <a:schemeClr val="tx2">
                    <a:lumMod val="50000"/>
                  </a:schemeClr>
                </a:solidFill>
              </a:rPr>
              <a:t>Scrum Ceremonies </a:t>
            </a:r>
          </a:p>
          <a:p>
            <a:pPr algn="ctr"/>
            <a:r>
              <a:rPr lang="en-US" sz="900" dirty="0">
                <a:solidFill>
                  <a:schemeClr val="tx2">
                    <a:lumMod val="50000"/>
                  </a:schemeClr>
                </a:solidFill>
              </a:rPr>
              <a:t>Requirement Management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-1983" y="3194661"/>
            <a:ext cx="142101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dirty="0">
                <a:solidFill>
                  <a:schemeClr val="tx2">
                    <a:lumMod val="50000"/>
                  </a:schemeClr>
                </a:solidFill>
              </a:rPr>
              <a:t>Environment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10479" y="3381786"/>
            <a:ext cx="14210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>
                <a:solidFill>
                  <a:schemeClr val="tx2">
                    <a:lumMod val="50000"/>
                  </a:schemeClr>
                </a:solidFill>
              </a:rPr>
              <a:t>Tools / Infrastructure</a:t>
            </a:r>
          </a:p>
          <a:p>
            <a:pPr algn="ctr"/>
            <a:r>
              <a:rPr lang="en-US" sz="900" dirty="0">
                <a:solidFill>
                  <a:schemeClr val="tx2">
                    <a:lumMod val="50000"/>
                  </a:schemeClr>
                </a:solidFill>
              </a:rPr>
              <a:t>Automation / DevOps</a:t>
            </a:r>
          </a:p>
        </p:txBody>
      </p:sp>
      <p:sp>
        <p:nvSpPr>
          <p:cNvPr id="91" name="TextBox 90"/>
          <p:cNvSpPr txBox="1"/>
          <p:nvPr/>
        </p:nvSpPr>
        <p:spPr>
          <a:xfrm>
            <a:off x="2297874" y="4461187"/>
            <a:ext cx="14036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600" b="1" dirty="0">
                <a:solidFill>
                  <a:srgbClr val="00B050"/>
                </a:solidFill>
              </a:rPr>
              <a:t> Product backlog manage over </a:t>
            </a:r>
            <a:r>
              <a:rPr lang="en-US" sz="600" b="1" dirty="0" err="1">
                <a:solidFill>
                  <a:srgbClr val="00B050"/>
                </a:solidFill>
              </a:rPr>
              <a:t>Jira</a:t>
            </a:r>
            <a:endParaRPr lang="en-US" sz="600" b="1" dirty="0">
              <a:solidFill>
                <a:srgbClr val="00B050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en-US" sz="600" b="1" dirty="0">
                <a:solidFill>
                  <a:srgbClr val="00B050"/>
                </a:solidFill>
              </a:rPr>
              <a:t>Scrum Team identify (for pilot)</a:t>
            </a:r>
          </a:p>
          <a:p>
            <a:pPr>
              <a:buFont typeface="Arial" pitchFamily="34" charset="0"/>
              <a:buChar char="•"/>
            </a:pPr>
            <a:r>
              <a:rPr lang="en-US" sz="600" b="1" dirty="0">
                <a:solidFill>
                  <a:srgbClr val="00B050"/>
                </a:solidFill>
              </a:rPr>
              <a:t> Conducting regular Scrum ceremonies </a:t>
            </a:r>
          </a:p>
        </p:txBody>
      </p:sp>
      <p:sp>
        <p:nvSpPr>
          <p:cNvPr id="109" name="TextBox 108"/>
          <p:cNvSpPr txBox="1"/>
          <p:nvPr/>
        </p:nvSpPr>
        <p:spPr>
          <a:xfrm>
            <a:off x="2064074" y="2606083"/>
            <a:ext cx="12180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b="1" dirty="0">
                <a:solidFill>
                  <a:srgbClr val="00B050"/>
                </a:solidFill>
              </a:rPr>
              <a:t>50% resources are trained in agile engineering practices</a:t>
            </a:r>
          </a:p>
        </p:txBody>
      </p:sp>
      <p:sp>
        <p:nvSpPr>
          <p:cNvPr id="110" name="TextBox 109"/>
          <p:cNvSpPr txBox="1"/>
          <p:nvPr/>
        </p:nvSpPr>
        <p:spPr>
          <a:xfrm>
            <a:off x="3470843" y="2606083"/>
            <a:ext cx="12180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b="1" dirty="0">
                <a:solidFill>
                  <a:srgbClr val="00B050"/>
                </a:solidFill>
              </a:rPr>
              <a:t>70% resources are trained in agile engineering practices</a:t>
            </a:r>
          </a:p>
        </p:txBody>
      </p:sp>
      <p:sp>
        <p:nvSpPr>
          <p:cNvPr id="111" name="TextBox 110"/>
          <p:cNvSpPr txBox="1"/>
          <p:nvPr/>
        </p:nvSpPr>
        <p:spPr>
          <a:xfrm>
            <a:off x="4868820" y="2615608"/>
            <a:ext cx="12180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b="1" dirty="0">
                <a:solidFill>
                  <a:srgbClr val="00B050"/>
                </a:solidFill>
              </a:rPr>
              <a:t>100% resources are trained in agile engineering practices</a:t>
            </a:r>
          </a:p>
        </p:txBody>
      </p:sp>
      <p:sp>
        <p:nvSpPr>
          <p:cNvPr id="113" name="TextBox 112"/>
          <p:cNvSpPr txBox="1"/>
          <p:nvPr/>
        </p:nvSpPr>
        <p:spPr>
          <a:xfrm>
            <a:off x="1476775" y="4509158"/>
            <a:ext cx="94111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b="1" dirty="0">
                <a:solidFill>
                  <a:srgbClr val="00B050"/>
                </a:solidFill>
              </a:rPr>
              <a:t>Readiness and Maturity Assessment</a:t>
            </a:r>
          </a:p>
        </p:txBody>
      </p:sp>
      <p:sp>
        <p:nvSpPr>
          <p:cNvPr id="115" name="Rounded Rectangle 114"/>
          <p:cNvSpPr/>
          <p:nvPr/>
        </p:nvSpPr>
        <p:spPr>
          <a:xfrm>
            <a:off x="1458201" y="3170957"/>
            <a:ext cx="6173522" cy="172319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trong Engineering Practices, Tools and DevOps Adoption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116" name="TextBox 115"/>
          <p:cNvSpPr txBox="1"/>
          <p:nvPr/>
        </p:nvSpPr>
        <p:spPr>
          <a:xfrm>
            <a:off x="3409297" y="3358558"/>
            <a:ext cx="12180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600" b="1" dirty="0">
                <a:solidFill>
                  <a:srgbClr val="00B050"/>
                </a:solidFill>
              </a:rPr>
              <a:t> Achieve TDD Approach for Pilot team/project </a:t>
            </a:r>
          </a:p>
        </p:txBody>
      </p:sp>
      <p:sp>
        <p:nvSpPr>
          <p:cNvPr id="117" name="TextBox 116"/>
          <p:cNvSpPr txBox="1"/>
          <p:nvPr/>
        </p:nvSpPr>
        <p:spPr>
          <a:xfrm>
            <a:off x="-7106" y="2619786"/>
            <a:ext cx="142101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>
                <a:solidFill>
                  <a:schemeClr val="tx2">
                    <a:lumMod val="50000"/>
                  </a:schemeClr>
                </a:solidFill>
              </a:rPr>
              <a:t>Engineering Practices</a:t>
            </a:r>
          </a:p>
        </p:txBody>
      </p:sp>
      <p:sp>
        <p:nvSpPr>
          <p:cNvPr id="118" name="Rounded Rectangle 117"/>
          <p:cNvSpPr/>
          <p:nvPr/>
        </p:nvSpPr>
        <p:spPr>
          <a:xfrm>
            <a:off x="1466994" y="4228231"/>
            <a:ext cx="5566853" cy="181844"/>
          </a:xfrm>
          <a:prstGeom prst="round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crum ceremonies in Place,  Scrum way of Requirement management and Estimations 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119" name="5-Point Star 118"/>
          <p:cNvSpPr/>
          <p:nvPr/>
        </p:nvSpPr>
        <p:spPr>
          <a:xfrm>
            <a:off x="1801122" y="4379072"/>
            <a:ext cx="111076" cy="126229"/>
          </a:xfrm>
          <a:prstGeom prst="star5">
            <a:avLst/>
          </a:prstGeom>
          <a:solidFill>
            <a:srgbClr val="00B050"/>
          </a:solidFill>
          <a:ln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20" name="5-Point Star 119"/>
          <p:cNvSpPr/>
          <p:nvPr/>
        </p:nvSpPr>
        <p:spPr>
          <a:xfrm>
            <a:off x="1783538" y="3245597"/>
            <a:ext cx="111076" cy="126229"/>
          </a:xfrm>
          <a:prstGeom prst="star5">
            <a:avLst/>
          </a:prstGeom>
          <a:solidFill>
            <a:srgbClr val="00B050"/>
          </a:solidFill>
          <a:ln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21" name="TextBox 120"/>
          <p:cNvSpPr txBox="1"/>
          <p:nvPr/>
        </p:nvSpPr>
        <p:spPr>
          <a:xfrm>
            <a:off x="3572759" y="4461186"/>
            <a:ext cx="5508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b="1" dirty="0">
                <a:solidFill>
                  <a:srgbClr val="00B050"/>
                </a:solidFill>
              </a:rPr>
              <a:t>Achieve Estimation in story point</a:t>
            </a:r>
          </a:p>
        </p:txBody>
      </p:sp>
      <p:sp>
        <p:nvSpPr>
          <p:cNvPr id="122" name="5-Point Star 121"/>
          <p:cNvSpPr/>
          <p:nvPr/>
        </p:nvSpPr>
        <p:spPr>
          <a:xfrm>
            <a:off x="3585961" y="4369547"/>
            <a:ext cx="111076" cy="126229"/>
          </a:xfrm>
          <a:prstGeom prst="star5">
            <a:avLst/>
          </a:prstGeom>
          <a:solidFill>
            <a:srgbClr val="00B050"/>
          </a:solidFill>
          <a:ln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23" name="TextBox 122"/>
          <p:cNvSpPr txBox="1"/>
          <p:nvPr/>
        </p:nvSpPr>
        <p:spPr>
          <a:xfrm>
            <a:off x="4038752" y="4451661"/>
            <a:ext cx="6299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b="1" dirty="0">
                <a:solidFill>
                  <a:srgbClr val="00B050"/>
                </a:solidFill>
              </a:rPr>
              <a:t>Achieve Sustainable Team velocity</a:t>
            </a:r>
          </a:p>
        </p:txBody>
      </p:sp>
      <p:sp>
        <p:nvSpPr>
          <p:cNvPr id="124" name="5-Point Star 123"/>
          <p:cNvSpPr/>
          <p:nvPr/>
        </p:nvSpPr>
        <p:spPr>
          <a:xfrm>
            <a:off x="4324515" y="4369547"/>
            <a:ext cx="111076" cy="126229"/>
          </a:xfrm>
          <a:prstGeom prst="star5">
            <a:avLst/>
          </a:prstGeom>
          <a:solidFill>
            <a:srgbClr val="00B050"/>
          </a:solidFill>
          <a:ln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25" name="TextBox 124"/>
          <p:cNvSpPr txBox="1"/>
          <p:nvPr/>
        </p:nvSpPr>
        <p:spPr>
          <a:xfrm>
            <a:off x="4676989" y="4478763"/>
            <a:ext cx="695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b="1" dirty="0">
                <a:solidFill>
                  <a:srgbClr val="00B050"/>
                </a:solidFill>
              </a:rPr>
              <a:t>10% Increased Team Velocity</a:t>
            </a:r>
          </a:p>
        </p:txBody>
      </p:sp>
      <p:sp>
        <p:nvSpPr>
          <p:cNvPr id="126" name="TextBox 125"/>
          <p:cNvSpPr txBox="1"/>
          <p:nvPr/>
        </p:nvSpPr>
        <p:spPr>
          <a:xfrm>
            <a:off x="5705689" y="4497813"/>
            <a:ext cx="695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b="1" dirty="0">
                <a:solidFill>
                  <a:srgbClr val="00B050"/>
                </a:solidFill>
              </a:rPr>
              <a:t>20% Increased Team Velocity</a:t>
            </a:r>
          </a:p>
        </p:txBody>
      </p:sp>
      <p:sp>
        <p:nvSpPr>
          <p:cNvPr id="127" name="5-Point Star 126"/>
          <p:cNvSpPr/>
          <p:nvPr/>
        </p:nvSpPr>
        <p:spPr>
          <a:xfrm>
            <a:off x="4983938" y="4379072"/>
            <a:ext cx="111076" cy="126229"/>
          </a:xfrm>
          <a:prstGeom prst="star5">
            <a:avLst/>
          </a:prstGeom>
          <a:solidFill>
            <a:srgbClr val="00B050"/>
          </a:solidFill>
          <a:ln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28" name="5-Point Star 127"/>
          <p:cNvSpPr/>
          <p:nvPr/>
        </p:nvSpPr>
        <p:spPr>
          <a:xfrm>
            <a:off x="5924715" y="4398122"/>
            <a:ext cx="111076" cy="126229"/>
          </a:xfrm>
          <a:prstGeom prst="star5">
            <a:avLst/>
          </a:prstGeom>
          <a:solidFill>
            <a:srgbClr val="00B050"/>
          </a:solidFill>
          <a:ln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29" name="5-Point Star 128"/>
          <p:cNvSpPr/>
          <p:nvPr/>
        </p:nvSpPr>
        <p:spPr>
          <a:xfrm>
            <a:off x="3330984" y="3312272"/>
            <a:ext cx="111076" cy="126229"/>
          </a:xfrm>
          <a:prstGeom prst="star5">
            <a:avLst/>
          </a:prstGeom>
          <a:solidFill>
            <a:srgbClr val="00B050"/>
          </a:solidFill>
          <a:ln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30" name="5-Point Star 129"/>
          <p:cNvSpPr/>
          <p:nvPr/>
        </p:nvSpPr>
        <p:spPr>
          <a:xfrm>
            <a:off x="2328661" y="3245597"/>
            <a:ext cx="111076" cy="126229"/>
          </a:xfrm>
          <a:prstGeom prst="star5">
            <a:avLst/>
          </a:prstGeom>
          <a:solidFill>
            <a:srgbClr val="00B050"/>
          </a:solidFill>
          <a:ln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31" name="5-Point Star 130"/>
          <p:cNvSpPr/>
          <p:nvPr/>
        </p:nvSpPr>
        <p:spPr>
          <a:xfrm>
            <a:off x="4597076" y="3321797"/>
            <a:ext cx="111076" cy="126229"/>
          </a:xfrm>
          <a:prstGeom prst="star5">
            <a:avLst/>
          </a:prstGeom>
          <a:solidFill>
            <a:srgbClr val="00B050"/>
          </a:solidFill>
          <a:ln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32" name="5-Point Star 131"/>
          <p:cNvSpPr/>
          <p:nvPr/>
        </p:nvSpPr>
        <p:spPr>
          <a:xfrm>
            <a:off x="5696115" y="3302747"/>
            <a:ext cx="111076" cy="126229"/>
          </a:xfrm>
          <a:prstGeom prst="star5">
            <a:avLst/>
          </a:prstGeom>
          <a:solidFill>
            <a:srgbClr val="00B050"/>
          </a:solidFill>
          <a:ln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34" name="Title 1"/>
          <p:cNvSpPr>
            <a:spLocks noGrp="1"/>
          </p:cNvSpPr>
          <p:nvPr>
            <p:ph type="title"/>
          </p:nvPr>
        </p:nvSpPr>
        <p:spPr>
          <a:xfrm>
            <a:off x="0" y="-1815"/>
            <a:ext cx="9144000" cy="754743"/>
          </a:xfrm>
        </p:spPr>
        <p:txBody>
          <a:bodyPr>
            <a:normAutofit fontScale="90000"/>
          </a:bodyPr>
          <a:lstStyle/>
          <a:p>
            <a:pPr algn="l"/>
            <a:r>
              <a:rPr lang="en-US" sz="2800" dirty="0"/>
              <a:t>   	Agile Transformation - Road Map and Milestones </a:t>
            </a:r>
          </a:p>
        </p:txBody>
      </p:sp>
    </p:spTree>
  </p:cSld>
  <p:clrMapOvr>
    <a:masterClrMapping/>
  </p:clrMapOvr>
  <p:transition/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610524" y="2999232"/>
            <a:ext cx="7533476" cy="859536"/>
          </a:xfrm>
        </p:spPr>
        <p:txBody>
          <a:bodyPr>
            <a:normAutofit fontScale="90000"/>
          </a:bodyPr>
          <a:lstStyle/>
          <a:p>
            <a:r>
              <a:rPr lang="en-US" sz="4400" dirty="0"/>
              <a:t>Thank You</a:t>
            </a:r>
            <a:br>
              <a:rPr lang="en-US" sz="4400" dirty="0"/>
            </a:b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17275907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1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>
              <a:defRPr/>
            </a:pPr>
            <a:r>
              <a:rPr lang="en-US" sz="2400" dirty="0">
                <a:sym typeface="Gill Sans" charset="0"/>
              </a:rPr>
              <a:t>Scrum has been used by:</a:t>
            </a:r>
          </a:p>
        </p:txBody>
      </p:sp>
      <p:sp>
        <p:nvSpPr>
          <p:cNvPr id="16386" name="Rectangle 2"/>
          <p:cNvSpPr>
            <a:spLocks/>
          </p:cNvSpPr>
          <p:nvPr/>
        </p:nvSpPr>
        <p:spPr bwMode="auto">
          <a:xfrm>
            <a:off x="784385" y="1188720"/>
            <a:ext cx="1867499" cy="332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Microsoft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Yahoo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Google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Electronic Arts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High Moon Studios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Lockheed Martin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Philips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Siemens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Nokia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Capital One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BBC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Intuit</a:t>
            </a:r>
          </a:p>
        </p:txBody>
      </p:sp>
      <p:sp>
        <p:nvSpPr>
          <p:cNvPr id="16387" name="Rectangle 3"/>
          <p:cNvSpPr>
            <a:spLocks/>
          </p:cNvSpPr>
          <p:nvPr/>
        </p:nvSpPr>
        <p:spPr bwMode="auto">
          <a:xfrm>
            <a:off x="4544854" y="1188720"/>
            <a:ext cx="2503827" cy="332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Intuit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Nielsen Media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First American Real Estate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BMC Software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Ipswitch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John Deere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Lexis Nexis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Sabre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Salesforce.com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Time Warner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Turner Broadcasting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Oce</a:t>
            </a:r>
          </a:p>
        </p:txBody>
      </p:sp>
    </p:spTree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1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>
              <a:defRPr/>
            </a:pPr>
            <a:r>
              <a:rPr lang="en-US" sz="2800" dirty="0">
                <a:sym typeface="Gill Sans" charset="0"/>
              </a:rPr>
              <a:t>Characteristics</a:t>
            </a:r>
          </a:p>
        </p:txBody>
      </p:sp>
      <p:sp>
        <p:nvSpPr>
          <p:cNvPr id="12291" name="Rectangle 2"/>
          <p:cNvSpPr>
            <a:spLocks noGrp="1" noChangeArrowheads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pPr marL="628650">
              <a:lnSpc>
                <a:spcPct val="90000"/>
              </a:lnSpc>
            </a:pPr>
            <a:r>
              <a:rPr lang="en-US" sz="3000" dirty="0"/>
              <a:t>Scrum Values: </a:t>
            </a:r>
            <a:r>
              <a:rPr lang="en-US" sz="3000" b="1" dirty="0"/>
              <a:t>Focus, Respect, Commitment, Openness </a:t>
            </a:r>
            <a:r>
              <a:rPr lang="en-US" sz="3000" dirty="0"/>
              <a:t>and</a:t>
            </a:r>
            <a:r>
              <a:rPr lang="en-US" sz="3000" b="1" dirty="0"/>
              <a:t> Courage</a:t>
            </a:r>
            <a:r>
              <a:rPr lang="en-US" sz="3000" dirty="0"/>
              <a:t>.</a:t>
            </a:r>
          </a:p>
          <a:p>
            <a:pPr marL="628650">
              <a:lnSpc>
                <a:spcPct val="90000"/>
              </a:lnSpc>
            </a:pPr>
            <a:r>
              <a:rPr lang="en-US" sz="3000" dirty="0"/>
              <a:t>Self-organizing teams</a:t>
            </a:r>
          </a:p>
          <a:p>
            <a:pPr marL="628650">
              <a:lnSpc>
                <a:spcPct val="90000"/>
              </a:lnSpc>
              <a:spcBef>
                <a:spcPts val="1170"/>
              </a:spcBef>
            </a:pPr>
            <a:r>
              <a:rPr lang="en-US" sz="3000" dirty="0"/>
              <a:t>Product progresses in a series of period-long </a:t>
            </a:r>
            <a:r>
              <a:rPr lang="ja-JP" altLang="en-US" sz="3000"/>
              <a:t>“</a:t>
            </a:r>
            <a:r>
              <a:rPr lang="en-US" altLang="ja-JP" sz="3000" dirty="0"/>
              <a:t>sprints</a:t>
            </a:r>
            <a:r>
              <a:rPr lang="ja-JP" altLang="en-US" sz="3000"/>
              <a:t>”</a:t>
            </a:r>
            <a:endParaRPr lang="en-US" altLang="ja-JP" sz="3000" dirty="0"/>
          </a:p>
          <a:p>
            <a:pPr marL="628650">
              <a:lnSpc>
                <a:spcPct val="90000"/>
              </a:lnSpc>
              <a:spcBef>
                <a:spcPts val="1170"/>
              </a:spcBef>
            </a:pPr>
            <a:r>
              <a:rPr lang="en-US" sz="3000" dirty="0"/>
              <a:t>Requirements are captured as items in a list of </a:t>
            </a:r>
            <a:r>
              <a:rPr lang="ja-JP" altLang="en-US" sz="3000"/>
              <a:t>“</a:t>
            </a:r>
            <a:r>
              <a:rPr lang="en-US" altLang="ja-JP" sz="3000" dirty="0"/>
              <a:t>product backlog</a:t>
            </a:r>
            <a:r>
              <a:rPr lang="ja-JP" altLang="en-US" sz="3000"/>
              <a:t>”</a:t>
            </a:r>
            <a:endParaRPr lang="en-US" altLang="ja-JP" sz="3000" dirty="0"/>
          </a:p>
          <a:p>
            <a:pPr marL="628650">
              <a:lnSpc>
                <a:spcPct val="90000"/>
              </a:lnSpc>
              <a:spcBef>
                <a:spcPts val="1170"/>
              </a:spcBef>
            </a:pPr>
            <a:r>
              <a:rPr lang="en-US" sz="3000" dirty="0"/>
              <a:t>No specific engineering practices prescribed</a:t>
            </a:r>
          </a:p>
          <a:p>
            <a:pPr marL="628650">
              <a:lnSpc>
                <a:spcPct val="90000"/>
              </a:lnSpc>
              <a:spcBef>
                <a:spcPts val="1170"/>
              </a:spcBef>
            </a:pPr>
            <a:r>
              <a:rPr lang="en-US" sz="3000" dirty="0"/>
              <a:t>Uses generative rules to create an agile environment for delivering projects</a:t>
            </a:r>
          </a:p>
          <a:p>
            <a:pPr marL="628650">
              <a:lnSpc>
                <a:spcPct val="90000"/>
              </a:lnSpc>
              <a:spcBef>
                <a:spcPts val="1170"/>
              </a:spcBef>
            </a:pPr>
            <a:r>
              <a:rPr lang="en-US" sz="3000" dirty="0"/>
              <a:t>One of the </a:t>
            </a:r>
            <a:r>
              <a:rPr lang="ja-JP" altLang="en-US" sz="3000"/>
              <a:t>“</a:t>
            </a:r>
            <a:r>
              <a:rPr lang="en-US" altLang="ja-JP" sz="3000" dirty="0"/>
              <a:t>agile processes</a:t>
            </a:r>
            <a:r>
              <a:rPr lang="ja-JP" altLang="en-US" sz="3000"/>
              <a:t>”</a:t>
            </a:r>
            <a:endParaRPr lang="en-US" altLang="ja-JP" sz="3000" dirty="0"/>
          </a:p>
          <a:p>
            <a:pPr marL="628650">
              <a:lnSpc>
                <a:spcPct val="90000"/>
              </a:lnSpc>
              <a:spcBef>
                <a:spcPts val="1170"/>
              </a:spcBef>
            </a:pPr>
            <a:endParaRPr lang="en-US" dirty="0"/>
          </a:p>
        </p:txBody>
      </p:sp>
    </p:spTree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0" y="283888"/>
            <a:ext cx="9144000" cy="1001713"/>
          </a:xfrm>
        </p:spPr>
        <p:txBody>
          <a:bodyPr/>
          <a:lstStyle/>
          <a:p>
            <a:pPr algn="l"/>
            <a:r>
              <a:rPr lang="en-US" sz="2800" dirty="0"/>
              <a:t>	Scrum at a Glance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95325" y="929630"/>
            <a:ext cx="7753350" cy="563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70281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600" dirty="0"/>
              <a:t>Spri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3845" y="1049340"/>
            <a:ext cx="8271775" cy="4987925"/>
          </a:xfrm>
        </p:spPr>
        <p:txBody>
          <a:bodyPr>
            <a:normAutofit lnSpcReduction="10000"/>
          </a:bodyPr>
          <a:lstStyle/>
          <a:p>
            <a:pPr marL="660400" lvl="0" indent="-444500" eaLnBrk="0" hangingPunct="0">
              <a:lnSpc>
                <a:spcPct val="100000"/>
              </a:lnSpc>
              <a:spcBef>
                <a:spcPts val="900"/>
              </a:spcBef>
              <a:buClr>
                <a:srgbClr val="5F7BAE"/>
              </a:buClr>
              <a:buSzPct val="150000"/>
              <a:buFont typeface="Lucida Grande" pitchFamily="1" charset="0"/>
              <a:buChar char="•"/>
              <a:defRPr/>
            </a:pPr>
            <a:r>
              <a:rPr lang="en-US" altLang="en-US" sz="2800" dirty="0">
                <a:solidFill>
                  <a:srgbClr val="000000"/>
                </a:solidFill>
                <a:ea typeface="ヒラギノ角ゴ Pro W3"/>
                <a:sym typeface="Gill Sans" pitchFamily="1" charset="0"/>
              </a:rPr>
              <a:t>Scrum projects make progress in a series of </a:t>
            </a:r>
            <a:r>
              <a:rPr lang="ja-JP" altLang="en-US" sz="2800" dirty="0">
                <a:solidFill>
                  <a:srgbClr val="000000"/>
                </a:solidFill>
                <a:ea typeface="ヒラギノ角ゴ Pro W3"/>
                <a:sym typeface="Gill Sans" pitchFamily="1" charset="0"/>
              </a:rPr>
              <a:t>“</a:t>
            </a:r>
            <a:r>
              <a:rPr lang="en-US" altLang="ja-JP" sz="2800" dirty="0">
                <a:solidFill>
                  <a:srgbClr val="000000"/>
                </a:solidFill>
                <a:ea typeface="ヒラギノ角ゴ Pro W3"/>
                <a:sym typeface="Gill Sans" pitchFamily="1" charset="0"/>
              </a:rPr>
              <a:t>sprints</a:t>
            </a:r>
            <a:r>
              <a:rPr lang="ja-JP" altLang="en-US" sz="3200" dirty="0">
                <a:solidFill>
                  <a:srgbClr val="000000"/>
                </a:solidFill>
                <a:ea typeface="ヒラギノ角ゴ Pro W3"/>
                <a:sym typeface="Gill Sans" pitchFamily="1" charset="0"/>
              </a:rPr>
              <a:t>”</a:t>
            </a:r>
            <a:r>
              <a:rPr lang="en-GB" altLang="ja-JP" sz="3200" dirty="0">
                <a:solidFill>
                  <a:srgbClr val="000000"/>
                </a:solidFill>
                <a:ea typeface="ヒラギノ角ゴ Pro W3"/>
                <a:sym typeface="Gill Sans" pitchFamily="1" charset="0"/>
              </a:rPr>
              <a:t>. Fixed Goal, Team, Length</a:t>
            </a:r>
            <a:endParaRPr lang="en-US" altLang="ja-JP" sz="3200" dirty="0">
              <a:solidFill>
                <a:srgbClr val="000000"/>
              </a:solidFill>
              <a:ea typeface="ヒラギノ角ゴ Pro W3"/>
              <a:sym typeface="Gill Sans" pitchFamily="1" charset="0"/>
            </a:endParaRPr>
          </a:p>
          <a:p>
            <a:pPr marL="660400" lvl="0" indent="-444500" eaLnBrk="0" hangingPunct="0">
              <a:lnSpc>
                <a:spcPct val="100000"/>
              </a:lnSpc>
              <a:spcBef>
                <a:spcPts val="900"/>
              </a:spcBef>
              <a:buClr>
                <a:srgbClr val="5F7BAE"/>
              </a:buClr>
              <a:buSzPct val="150000"/>
              <a:buFont typeface="Lucida Grande" pitchFamily="1" charset="0"/>
              <a:buChar char="•"/>
              <a:defRPr/>
            </a:pPr>
            <a:r>
              <a:rPr lang="en-US" altLang="en-US" sz="2800" dirty="0">
                <a:solidFill>
                  <a:srgbClr val="000000"/>
                </a:solidFill>
                <a:ea typeface="ヒラギノ角ゴ Pro W3"/>
                <a:sym typeface="Gill Sans" pitchFamily="1" charset="0"/>
              </a:rPr>
              <a:t>Typical duration is 2–4 weeks or a calendar month at most</a:t>
            </a:r>
          </a:p>
          <a:p>
            <a:pPr marL="660400" lvl="0" indent="-444500" eaLnBrk="0" hangingPunct="0">
              <a:lnSpc>
                <a:spcPct val="100000"/>
              </a:lnSpc>
              <a:spcBef>
                <a:spcPts val="900"/>
              </a:spcBef>
              <a:buClr>
                <a:srgbClr val="5F7BAE"/>
              </a:buClr>
              <a:buSzPct val="150000"/>
              <a:buFont typeface="Lucida Grande" pitchFamily="1" charset="0"/>
              <a:buChar char="•"/>
              <a:defRPr/>
            </a:pPr>
            <a:r>
              <a:rPr lang="en-US" altLang="en-US" sz="2800" dirty="0">
                <a:solidFill>
                  <a:srgbClr val="000000"/>
                </a:solidFill>
                <a:ea typeface="ヒラギノ角ゴ Pro W3"/>
                <a:sym typeface="Gill Sans" pitchFamily="1" charset="0"/>
              </a:rPr>
              <a:t>Why </a:t>
            </a:r>
            <a:r>
              <a:rPr lang="en-US" altLang="en-US" sz="2800" dirty="0" err="1">
                <a:solidFill>
                  <a:srgbClr val="000000"/>
                </a:solidFill>
                <a:ea typeface="ヒラギノ角ゴ Pro W3"/>
                <a:sym typeface="Gill Sans" pitchFamily="1" charset="0"/>
              </a:rPr>
              <a:t>Timeboxing</a:t>
            </a:r>
            <a:r>
              <a:rPr lang="en-US" altLang="en-US" sz="2800" dirty="0">
                <a:solidFill>
                  <a:srgbClr val="000000"/>
                </a:solidFill>
                <a:ea typeface="ヒラギノ角ゴ Pro W3"/>
                <a:sym typeface="Gill Sans" pitchFamily="1" charset="0"/>
              </a:rPr>
              <a:t>?</a:t>
            </a:r>
          </a:p>
          <a:p>
            <a:pPr marL="965200" lvl="1" indent="-444500" eaLnBrk="0" hangingPunct="0">
              <a:lnSpc>
                <a:spcPct val="100000"/>
              </a:lnSpc>
              <a:spcBef>
                <a:spcPts val="900"/>
              </a:spcBef>
              <a:buClr>
                <a:srgbClr val="5F7BAE"/>
              </a:buClr>
              <a:buSzPct val="150000"/>
              <a:buFont typeface="Lucida Grande" pitchFamily="1" charset="0"/>
              <a:buChar char="•"/>
              <a:defRPr/>
            </a:pPr>
            <a:r>
              <a:rPr lang="en-US" altLang="en-US" sz="2400" dirty="0">
                <a:solidFill>
                  <a:srgbClr val="000000"/>
                </a:solidFill>
                <a:ea typeface="ヒラギノ角ゴ Pro W3"/>
                <a:sym typeface="Gill Sans" pitchFamily="1" charset="0"/>
              </a:rPr>
              <a:t>A constant duration leads to a better rhythm</a:t>
            </a:r>
          </a:p>
          <a:p>
            <a:pPr marL="965200" lvl="1" indent="-444500" eaLnBrk="0" hangingPunct="0">
              <a:lnSpc>
                <a:spcPct val="100000"/>
              </a:lnSpc>
              <a:spcBef>
                <a:spcPts val="900"/>
              </a:spcBef>
              <a:buClr>
                <a:srgbClr val="5F7BAE"/>
              </a:buClr>
              <a:buSzPct val="150000"/>
              <a:buFont typeface="Lucida Grande" pitchFamily="1" charset="0"/>
              <a:buChar char="•"/>
              <a:defRPr/>
            </a:pPr>
            <a:r>
              <a:rPr lang="en-US" altLang="en-US" sz="2400" dirty="0">
                <a:solidFill>
                  <a:srgbClr val="000000"/>
                </a:solidFill>
                <a:ea typeface="ヒラギノ角ゴ Pro W3"/>
                <a:sym typeface="Gill Sans" pitchFamily="1" charset="0"/>
              </a:rPr>
              <a:t>Improve predictability</a:t>
            </a:r>
          </a:p>
          <a:p>
            <a:pPr marL="965200" lvl="1" indent="-444500" eaLnBrk="0" hangingPunct="0">
              <a:lnSpc>
                <a:spcPct val="100000"/>
              </a:lnSpc>
              <a:spcBef>
                <a:spcPts val="900"/>
              </a:spcBef>
              <a:buClr>
                <a:srgbClr val="5F7BAE"/>
              </a:buClr>
              <a:buSzPct val="150000"/>
              <a:buFont typeface="Lucida Grande" pitchFamily="1" charset="0"/>
              <a:buChar char="•"/>
              <a:defRPr/>
            </a:pPr>
            <a:r>
              <a:rPr lang="en-US" altLang="en-US" sz="2400" dirty="0">
                <a:solidFill>
                  <a:srgbClr val="000000"/>
                </a:solidFill>
                <a:ea typeface="ヒラギノ角ゴ Pro W3"/>
                <a:sym typeface="Gill Sans" pitchFamily="1" charset="0"/>
              </a:rPr>
              <a:t>Help stay focused on Goal</a:t>
            </a:r>
          </a:p>
          <a:p>
            <a:pPr marL="660400" lvl="0" indent="-444500" eaLnBrk="0" hangingPunct="0">
              <a:lnSpc>
                <a:spcPct val="100000"/>
              </a:lnSpc>
              <a:spcBef>
                <a:spcPts val="900"/>
              </a:spcBef>
              <a:buClr>
                <a:srgbClr val="5F7BAE"/>
              </a:buClr>
              <a:buSzPct val="150000"/>
              <a:buFont typeface="Lucida Grande" pitchFamily="1" charset="0"/>
              <a:buChar char="•"/>
              <a:defRPr/>
            </a:pPr>
            <a:r>
              <a:rPr lang="en-US" altLang="en-US" sz="2800" dirty="0">
                <a:solidFill>
                  <a:srgbClr val="000000"/>
                </a:solidFill>
                <a:ea typeface="ヒラギノ角ゴ Pro W3"/>
                <a:sym typeface="Gill Sans" pitchFamily="1" charset="0"/>
              </a:rPr>
              <a:t>Product is designed, coded, and tested during the sprint</a:t>
            </a:r>
          </a:p>
          <a:p>
            <a:endParaRPr lang="en-GB" sz="32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808845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"/>
          <p:cNvSpPr>
            <a:spLocks noGrp="1" noChangeArrowheads="1"/>
          </p:cNvSpPr>
          <p:nvPr>
            <p:ph type="title"/>
          </p:nvPr>
        </p:nvSpPr>
        <p:spPr>
          <a:xfrm>
            <a:off x="326518" y="322729"/>
            <a:ext cx="9009462" cy="858371"/>
          </a:xfrm>
        </p:spPr>
        <p:txBody>
          <a:bodyPr/>
          <a:lstStyle/>
          <a:p>
            <a:pPr eaLnBrk="1" hangingPunct="1">
              <a:defRPr/>
            </a:pPr>
            <a:r>
              <a:rPr lang="en-US" sz="4000" dirty="0">
                <a:sym typeface="Gill Sans" charset="0"/>
              </a:rPr>
              <a:t>No changes during a sprint</a:t>
            </a: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gray">
          <a:xfrm>
            <a:off x="326518" y="5410201"/>
            <a:ext cx="8483050" cy="10847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03200" indent="-203200" algn="l" rtl="0" fontAlgn="base">
              <a:spcBef>
                <a:spcPct val="6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8000" indent="-2794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685800" indent="-1778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­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863600" indent="-1778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­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1041400" indent="-1778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1498600" indent="-1778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1955800" indent="-1778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2413000" indent="-1778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2870200" indent="-1778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698500">
              <a:lnSpc>
                <a:spcPct val="100000"/>
              </a:lnSpc>
              <a:buFont typeface="Lucida Grande" charset="0"/>
              <a:buChar char="•"/>
              <a:defRPr/>
            </a:pPr>
            <a:r>
              <a:rPr lang="en-US" sz="2400" kern="0" dirty="0">
                <a:sym typeface="Gill Sans" charset="0"/>
              </a:rPr>
              <a:t>Plan sprint durations around how long you can commit to keeping change out of the sprint</a:t>
            </a:r>
          </a:p>
        </p:txBody>
      </p:sp>
      <p:grpSp>
        <p:nvGrpSpPr>
          <p:cNvPr id="2" name="Group 4"/>
          <p:cNvGrpSpPr>
            <a:grpSpLocks/>
          </p:cNvGrpSpPr>
          <p:nvPr/>
        </p:nvGrpSpPr>
        <p:grpSpPr bwMode="auto">
          <a:xfrm>
            <a:off x="2660513" y="1881188"/>
            <a:ext cx="3785183" cy="3060700"/>
            <a:chOff x="0" y="0"/>
            <a:chExt cx="2504" cy="1927"/>
          </a:xfrm>
        </p:grpSpPr>
        <p:pic>
          <p:nvPicPr>
            <p:cNvPr id="9" name="Picture 5"/>
            <p:cNvPicPr>
              <a:picLocks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2504" cy="19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" name="Rectangle 6"/>
            <p:cNvSpPr>
              <a:spLocks/>
            </p:cNvSpPr>
            <p:nvPr/>
          </p:nvSpPr>
          <p:spPr bwMode="auto">
            <a:xfrm>
              <a:off x="224" y="254"/>
              <a:ext cx="2056" cy="1408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ts val="1800"/>
                </a:spcBef>
                <a:buClr>
                  <a:srgbClr val="5F7BAE"/>
                </a:buClr>
                <a:buSzPct val="150000"/>
                <a:buFont typeface="Lucida Grande" pitchFamily="1" charset="0"/>
                <a:buChar char="•"/>
                <a:defRPr sz="3600">
                  <a:solidFill>
                    <a:schemeClr val="tx1"/>
                  </a:solidFill>
                  <a:latin typeface="Gill Sans" pitchFamily="1" charset="0"/>
                  <a:ea typeface="ヒラギノ角ゴ Pro W3" pitchFamily="1" charset="-128"/>
                  <a:sym typeface="Gill Sans" pitchFamily="1" charset="0"/>
                </a:defRPr>
              </a:lvl1pPr>
              <a:lvl2pPr marL="742950" indent="-285750" algn="l" eaLnBrk="0" hangingPunct="0">
                <a:spcBef>
                  <a:spcPts val="1800"/>
                </a:spcBef>
                <a:buSzPct val="150000"/>
                <a:buFont typeface="Lucida Grande" pitchFamily="1" charset="0"/>
                <a:buChar char="•"/>
                <a:defRPr sz="3200">
                  <a:solidFill>
                    <a:schemeClr val="tx1"/>
                  </a:solidFill>
                  <a:latin typeface="Gill Sans" pitchFamily="1" charset="0"/>
                  <a:ea typeface="ヒラギノ角ゴ Pro W3" pitchFamily="1" charset="-128"/>
                  <a:sym typeface="Gill Sans" pitchFamily="1" charset="0"/>
                </a:defRPr>
              </a:lvl2pPr>
              <a:lvl3pPr marL="1143000" indent="-228600" algn="l" eaLnBrk="0" hangingPunct="0">
                <a:spcBef>
                  <a:spcPts val="1800"/>
                </a:spcBef>
                <a:buSzPct val="150000"/>
                <a:buFont typeface="Lucida Grande" pitchFamily="1" charset="0"/>
                <a:buChar char="•"/>
                <a:defRPr sz="2800">
                  <a:solidFill>
                    <a:schemeClr val="tx1"/>
                  </a:solidFill>
                  <a:latin typeface="Gill Sans" pitchFamily="1" charset="0"/>
                  <a:ea typeface="ヒラギノ角ゴ Pro W3" pitchFamily="1" charset="-128"/>
                  <a:sym typeface="Gill Sans" pitchFamily="1" charset="0"/>
                </a:defRPr>
              </a:lvl3pPr>
              <a:lvl4pPr marL="1600200" indent="-228600" algn="l" eaLnBrk="0" hangingPunct="0">
                <a:spcBef>
                  <a:spcPts val="1800"/>
                </a:spcBef>
                <a:buSzPct val="150000"/>
                <a:buFont typeface="Lucida Grande" pitchFamily="1" charset="0"/>
                <a:buChar char="•"/>
                <a:defRPr sz="2400">
                  <a:solidFill>
                    <a:schemeClr val="tx1"/>
                  </a:solidFill>
                  <a:latin typeface="Gill Sans" pitchFamily="1" charset="0"/>
                  <a:ea typeface="ヒラギノ角ゴ Pro W3" pitchFamily="1" charset="-128"/>
                  <a:sym typeface="Gill Sans" pitchFamily="1" charset="0"/>
                </a:defRPr>
              </a:lvl4pPr>
              <a:lvl5pPr marL="2057400" indent="-228600" algn="l" eaLnBrk="0" hangingPunct="0">
                <a:spcBef>
                  <a:spcPts val="1800"/>
                </a:spcBef>
                <a:buSzPct val="150000"/>
                <a:buFont typeface="Lucida Grande" pitchFamily="1" charset="0"/>
                <a:buChar char="•"/>
                <a:defRPr sz="2400">
                  <a:solidFill>
                    <a:schemeClr val="tx1"/>
                  </a:solidFill>
                  <a:latin typeface="Gill Sans" pitchFamily="1" charset="0"/>
                  <a:ea typeface="ヒラギノ角ゴ Pro W3" pitchFamily="1" charset="-128"/>
                  <a:sym typeface="Gill Sans" pitchFamily="1" charset="0"/>
                </a:defRPr>
              </a:lvl5pPr>
              <a:lvl6pPr marL="2514600" indent="-228600" eaLnBrk="0" fontAlgn="base" hangingPunct="0">
                <a:spcBef>
                  <a:spcPts val="1800"/>
                </a:spcBef>
                <a:spcAft>
                  <a:spcPct val="0"/>
                </a:spcAft>
                <a:buSzPct val="150000"/>
                <a:buFont typeface="Lucida Grande" pitchFamily="1" charset="0"/>
                <a:buChar char="•"/>
                <a:defRPr sz="2400">
                  <a:solidFill>
                    <a:schemeClr val="tx1"/>
                  </a:solidFill>
                  <a:latin typeface="Gill Sans" pitchFamily="1" charset="0"/>
                  <a:ea typeface="ヒラギノ角ゴ Pro W3" pitchFamily="1" charset="-128"/>
                  <a:sym typeface="Gill Sans" pitchFamily="1" charset="0"/>
                </a:defRPr>
              </a:lvl6pPr>
              <a:lvl7pPr marL="2971800" indent="-228600" eaLnBrk="0" fontAlgn="base" hangingPunct="0">
                <a:spcBef>
                  <a:spcPts val="1800"/>
                </a:spcBef>
                <a:spcAft>
                  <a:spcPct val="0"/>
                </a:spcAft>
                <a:buSzPct val="150000"/>
                <a:buFont typeface="Lucida Grande" pitchFamily="1" charset="0"/>
                <a:buChar char="•"/>
                <a:defRPr sz="2400">
                  <a:solidFill>
                    <a:schemeClr val="tx1"/>
                  </a:solidFill>
                  <a:latin typeface="Gill Sans" pitchFamily="1" charset="0"/>
                  <a:ea typeface="ヒラギノ角ゴ Pro W3" pitchFamily="1" charset="-128"/>
                  <a:sym typeface="Gill Sans" pitchFamily="1" charset="0"/>
                </a:defRPr>
              </a:lvl7pPr>
              <a:lvl8pPr marL="3429000" indent="-228600" eaLnBrk="0" fontAlgn="base" hangingPunct="0">
                <a:spcBef>
                  <a:spcPts val="1800"/>
                </a:spcBef>
                <a:spcAft>
                  <a:spcPct val="0"/>
                </a:spcAft>
                <a:buSzPct val="150000"/>
                <a:buFont typeface="Lucida Grande" pitchFamily="1" charset="0"/>
                <a:buChar char="•"/>
                <a:defRPr sz="2400">
                  <a:solidFill>
                    <a:schemeClr val="tx1"/>
                  </a:solidFill>
                  <a:latin typeface="Gill Sans" pitchFamily="1" charset="0"/>
                  <a:ea typeface="ヒラギノ角ゴ Pro W3" pitchFamily="1" charset="-128"/>
                  <a:sym typeface="Gill Sans" pitchFamily="1" charset="0"/>
                </a:defRPr>
              </a:lvl8pPr>
              <a:lvl9pPr marL="3886200" indent="-228600" eaLnBrk="0" fontAlgn="base" hangingPunct="0">
                <a:spcBef>
                  <a:spcPts val="1800"/>
                </a:spcBef>
                <a:spcAft>
                  <a:spcPct val="0"/>
                </a:spcAft>
                <a:buSzPct val="150000"/>
                <a:buFont typeface="Lucida Grande" pitchFamily="1" charset="0"/>
                <a:buChar char="•"/>
                <a:defRPr sz="2400">
                  <a:solidFill>
                    <a:schemeClr val="tx1"/>
                  </a:solidFill>
                  <a:latin typeface="Gill Sans" pitchFamily="1" charset="0"/>
                  <a:ea typeface="ヒラギノ角ゴ Pro W3" pitchFamily="1" charset="-128"/>
                  <a:sym typeface="Gill Sans" pitchFamily="1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en-US" sz="3200">
                <a:solidFill>
                  <a:srgbClr val="000000"/>
                </a:solidFill>
              </a:endParaRPr>
            </a:p>
          </p:txBody>
        </p:sp>
      </p:grpSp>
      <p:grpSp>
        <p:nvGrpSpPr>
          <p:cNvPr id="3" name="Group 7"/>
          <p:cNvGrpSpPr>
            <a:grpSpLocks/>
          </p:cNvGrpSpPr>
          <p:nvPr/>
        </p:nvGrpSpPr>
        <p:grpSpPr bwMode="auto">
          <a:xfrm>
            <a:off x="3575064" y="2324100"/>
            <a:ext cx="1963639" cy="2171700"/>
            <a:chOff x="0" y="0"/>
            <a:chExt cx="1298" cy="1368"/>
          </a:xfrm>
        </p:grpSpPr>
        <p:pic>
          <p:nvPicPr>
            <p:cNvPr id="12" name="Picture 8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279"/>
              <a:ext cx="1298" cy="10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Picture 9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" y="0"/>
              <a:ext cx="623" cy="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AutoShape 16"/>
          <p:cNvSpPr>
            <a:spLocks noChangeArrowheads="1"/>
          </p:cNvSpPr>
          <p:nvPr/>
        </p:nvSpPr>
        <p:spPr bwMode="auto">
          <a:xfrm>
            <a:off x="1160951" y="1752601"/>
            <a:ext cx="1422468" cy="1116013"/>
          </a:xfrm>
          <a:prstGeom prst="lightningBolt">
            <a:avLst/>
          </a:prstGeom>
          <a:solidFill>
            <a:srgbClr val="99CCFF"/>
          </a:solidFill>
          <a:ln w="9525">
            <a:solidFill>
              <a:srgbClr val="006CD8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r>
              <a:rPr lang="en-US" sz="2000">
                <a:solidFill>
                  <a:schemeClr val="tx1"/>
                </a:solidFill>
                <a:latin typeface="Tahoma" charset="0"/>
                <a:ea typeface="ヒラギノ角ゴ Pro W3" charset="0"/>
                <a:cs typeface="ヒラギノ角ゴ Pro W3" charset="0"/>
                <a:sym typeface="Gill Sans" charset="0"/>
              </a:rPr>
              <a:t>Chan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808845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DISPLAYMASTERSHAPES" val="Y"/>
  <p:tag name="MMCOA_FOLLOWMASTERBACKGROUND" val="Y"/>
  <p:tag name="MMCOA_FORCESCHEME" val="N"/>
  <p:tag name="MMCOA_CANACTASDIVIDER" val="N"/>
  <p:tag name="MMCOA_PROMPTCOLOUR" val="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DISPLAYMASTERSHAPES" val="Y"/>
  <p:tag name="MMCOA_FOLLOWMASTERBACKGROUND" val="Y"/>
  <p:tag name="MMCOA_FORCESCHEME" val="N"/>
  <p:tag name="MMCOA_CANACTASDIVIDER" val="N"/>
  <p:tag name="MMCOA_PROMPTCOLOUR" val="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DISPLAYMASTERSHAPES" val="Y"/>
  <p:tag name="MMCOA_FOLLOWMASTERBACKGROUND" val="Y"/>
  <p:tag name="MMCOA_FORCESCHEME" val="N"/>
  <p:tag name="MMCOA_CANACTASDIVIDER" val="N"/>
  <p:tag name="MMCOA_PROMPTCOLOUR" val="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DISPLAYMASTERSHAPES" val="Y"/>
  <p:tag name="MMCOA_FOLLOWMASTERBACKGROUND" val="Y"/>
  <p:tag name="MMCOA_FORCESCHEME" val="N"/>
  <p:tag name="MMCOA_CANACTASDIVIDER" val="N"/>
  <p:tag name="MMCOA_PROMPTCOLOUR" val="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DISPLAYMASTERSHAPES" val="Y"/>
  <p:tag name="MMCOA_FOLLOWMASTERBACKGROUND" val="Y"/>
  <p:tag name="MMCOA_FORCESCHEME" val="N"/>
  <p:tag name="MMCOA_CANACTASDIVIDER" val="N"/>
  <p:tag name="MMCOA_PROMPTCOLOUR" val="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DISPLAYMASTERSHAPES" val="Y"/>
  <p:tag name="MMCOA_FOLLOWMASTERBACKGROUND" val="Y"/>
  <p:tag name="MMCOA_FORCESCHEME" val="N"/>
  <p:tag name="MMCOA_CANACTASDIVIDER" val="N"/>
  <p:tag name="MMCOA_PROMPTCOLOUR" val="N"/>
  <p:tag name="MMCOA_TRANSPARENT" val="False"/>
  <p:tag name="MMC_SLIDETYPE" val="Cov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8"/>
  <p:tag name="MMCOA_FONTSIZE_S" val="28"/>
  <p:tag name="MMCOA_FONTSIZE_T" val="28"/>
  <p:tag name="MMCOA_POSITION_L" val="70.625;97.875;55;648.375"/>
  <p:tag name="MMCOA_POSITION_M" val="70.625;97.875;55;648.375"/>
  <p:tag name="MMCOA_POSITION_S" val="70.625;97.875;55;648.375"/>
  <p:tag name="MMCOA_POSITION_T" val="70.625;97.875;55;648.3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heme/theme1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9" id="{92441EE4-A40B-4409-B9B7-28D595E8C3C4}" vid="{128A1EAF-D87B-4F1D-AE0E-CD7F193D41F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64F797F9BD2124B9B89E1787624A7F8" ma:contentTypeVersion="10" ma:contentTypeDescription="Create a new document." ma:contentTypeScope="" ma:versionID="9c6744cef3b63dc926475b7dcd1b6858">
  <xsd:schema xmlns:xsd="http://www.w3.org/2001/XMLSchema" xmlns:xs="http://www.w3.org/2001/XMLSchema" xmlns:p="http://schemas.microsoft.com/office/2006/metadata/properties" xmlns:ns2="http://schemas.microsoft.com/sharepoint/v3/fields" xmlns:ns3="26bed2a0-a239-4228-bd8e-b46f54fc12da" targetNamespace="http://schemas.microsoft.com/office/2006/metadata/properties" ma:root="true" ma:fieldsID="67ee57ba3d6bba7dddc705dba4695c0f" ns2:_="" ns3:_="">
    <xsd:import namespace="http://schemas.microsoft.com/sharepoint/v3/fields"/>
    <xsd:import namespace="26bed2a0-a239-4228-bd8e-b46f54fc12da"/>
    <xsd:element name="properties">
      <xsd:complexType>
        <xsd:sequence>
          <xsd:element name="documentManagement">
            <xsd:complexType>
              <xsd:all>
                <xsd:element ref="ns2:_Version" minOccurs="0"/>
                <xsd:element ref="ns3:Level"/>
                <xsd:element ref="ns3:Category"/>
                <xsd:element ref="ns2:_DCDateModified" minOccurs="0"/>
                <xsd:element ref="ns3:Material_x0020_Type"/>
                <xsd:element ref="ns3:MediaServiceMetadata" minOccurs="0"/>
                <xsd:element ref="ns3:MediaServiceFastMetadata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Version" ma:index="8" nillable="true" ma:displayName="Version" ma:internalName="_Version">
      <xsd:simpleType>
        <xsd:restriction base="dms:Text"/>
      </xsd:simpleType>
    </xsd:element>
    <xsd:element name="_DCDateModified" ma:index="11" nillable="true" ma:displayName="Date Modified" ma:description="The date on which this resource was last modified" ma:format="DateTime" ma:internalName="_DCDateModified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bed2a0-a239-4228-bd8e-b46f54fc12da" elementFormDefault="qualified">
    <xsd:import namespace="http://schemas.microsoft.com/office/2006/documentManagement/types"/>
    <xsd:import namespace="http://schemas.microsoft.com/office/infopath/2007/PartnerControls"/>
    <xsd:element name="Level" ma:index="9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10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2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Version xmlns="http://schemas.microsoft.com/sharepoint/v3/fields" xsi:nil="true"/>
    <_DCDateModified xmlns="http://schemas.microsoft.com/sharepoint/v3/fields" xsi:nil="true"/>
    <Level xmlns="26bed2a0-a239-4228-bd8e-b46f54fc12da">L1</Level>
    <Material_x0020_Type xmlns="26bed2a0-a239-4228-bd8e-b46f54fc12da">Class book</Material_x0020_Type>
    <Category xmlns="26bed2a0-a239-4228-bd8e-b46f54fc12da">Module Artifact</Category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DB3FB22-5B1E-4F5B-94FF-BEAFA6FDCE4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/fields"/>
    <ds:schemaRef ds:uri="26bed2a0-a239-4228-bd8e-b46f54fc12d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FEF36F0-ED25-450A-B131-79AA2F61CE7E}">
  <ds:schemaRefs>
    <ds:schemaRef ds:uri="http://schemas.microsoft.com/office/infopath/2007/PartnerControls"/>
    <ds:schemaRef ds:uri="26bed2a0-a239-4228-bd8e-b46f54fc12da"/>
    <ds:schemaRef ds:uri="http://purl.org/dc/elements/1.1/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schemas.microsoft.com/sharepoint/v3/fields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6317873B-4574-49BE-A0E4-03402AC2337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54</TotalTime>
  <Words>2351</Words>
  <Application>Microsoft Office PowerPoint</Application>
  <PresentationFormat>On-screen Show (4:3)</PresentationFormat>
  <Paragraphs>662</Paragraphs>
  <Slides>46</Slides>
  <Notes>32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6</vt:i4>
      </vt:variant>
    </vt:vector>
  </HeadingPairs>
  <TitlesOfParts>
    <vt:vector size="59" baseType="lpstr">
      <vt:lpstr>ＭＳ Ｐゴシック</vt:lpstr>
      <vt:lpstr>Arial</vt:lpstr>
      <vt:lpstr>Arial Rounded MT Bold</vt:lpstr>
      <vt:lpstr>Calibri</vt:lpstr>
      <vt:lpstr>Comic Sans MS</vt:lpstr>
      <vt:lpstr>Gill Sans</vt:lpstr>
      <vt:lpstr>Lucida Grande</vt:lpstr>
      <vt:lpstr>Tahoma</vt:lpstr>
      <vt:lpstr>Verdana</vt:lpstr>
      <vt:lpstr>Wingdings</vt:lpstr>
      <vt:lpstr>ヒラギノ角ゴ Pro W3</vt:lpstr>
      <vt:lpstr>Section slides</vt:lpstr>
      <vt:lpstr>think-cell Slide</vt:lpstr>
      <vt:lpstr>Introduction to Agile - Scrum </vt:lpstr>
      <vt:lpstr>  Elements of Agile Adoption</vt:lpstr>
      <vt:lpstr>  Requirement</vt:lpstr>
      <vt:lpstr>What is Scrum?</vt:lpstr>
      <vt:lpstr>Scrum has been used by:</vt:lpstr>
      <vt:lpstr>Characteristics</vt:lpstr>
      <vt:lpstr> Scrum at a Glance</vt:lpstr>
      <vt:lpstr>Sprints</vt:lpstr>
      <vt:lpstr>No changes during a sprint</vt:lpstr>
      <vt:lpstr>Sequential vs. overlapping development</vt:lpstr>
      <vt:lpstr>Scrum framework</vt:lpstr>
      <vt:lpstr>Scrum framework</vt:lpstr>
      <vt:lpstr>Scrum Roles</vt:lpstr>
      <vt:lpstr>PowerPoint Presentation</vt:lpstr>
      <vt:lpstr>The ScrumMaster</vt:lpstr>
      <vt:lpstr>The team</vt:lpstr>
      <vt:lpstr>The team</vt:lpstr>
      <vt:lpstr>PowerPoint Presentation</vt:lpstr>
      <vt:lpstr>PowerPoint Presentation</vt:lpstr>
      <vt:lpstr>Scrum framework</vt:lpstr>
      <vt:lpstr> Scrum with 2 weeks Sprint Duration</vt:lpstr>
      <vt:lpstr>PowerPoint Presentation</vt:lpstr>
      <vt:lpstr>Sprint planning</vt:lpstr>
      <vt:lpstr>The daily scrum</vt:lpstr>
      <vt:lpstr>Everyone answers 3 questions</vt:lpstr>
      <vt:lpstr>The sprint review</vt:lpstr>
      <vt:lpstr>Sprint retrospective</vt:lpstr>
      <vt:lpstr>Start / Stop / Continue</vt:lpstr>
      <vt:lpstr>Scrum framework</vt:lpstr>
      <vt:lpstr>Product backlog</vt:lpstr>
      <vt:lpstr>PowerPoint Presentation</vt:lpstr>
      <vt:lpstr>The sprint goal</vt:lpstr>
      <vt:lpstr>PowerPoint Presentation</vt:lpstr>
      <vt:lpstr>PowerPoint Presentation</vt:lpstr>
      <vt:lpstr>PowerPoint Presentation</vt:lpstr>
      <vt:lpstr>PowerPoint Presentation</vt:lpstr>
      <vt:lpstr> Scrum board</vt:lpstr>
      <vt:lpstr> Fire line on scrum board</vt:lpstr>
      <vt:lpstr> Kanban</vt:lpstr>
      <vt:lpstr>PowerPoint Presentation</vt:lpstr>
      <vt:lpstr> Myths or Facts</vt:lpstr>
      <vt:lpstr> Success Selfie!</vt:lpstr>
      <vt:lpstr>    Agile Engineering Practices</vt:lpstr>
      <vt:lpstr>    Agile Engineering Practices:  Suggested Tools </vt:lpstr>
      <vt:lpstr>    Agile Transformation - Road Map and Milestones </vt:lpstr>
      <vt:lpstr>Thank You 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lements of Agile Adoption</dc:title>
  <dc:creator>Singh, Rahul</dc:creator>
  <cp:lastModifiedBy>Srivastava, Vaishali</cp:lastModifiedBy>
  <cp:revision>28</cp:revision>
  <dcterms:created xsi:type="dcterms:W3CDTF">2006-08-16T00:00:00Z</dcterms:created>
  <dcterms:modified xsi:type="dcterms:W3CDTF">2019-08-12T05:10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64F797F9BD2124B9B89E1787624A7F8</vt:lpwstr>
  </property>
</Properties>
</file>